
<file path=[Content_Types].xml><?xml version="1.0" encoding="utf-8"?>
<Types xmlns="http://schemas.openxmlformats.org/package/2006/content-types">
  <Override PartName="/ppt/slideMasters/slideMaster2.xml" ContentType="application/vnd.openxmlformats-officedocument.presentationml.slideMaster+xml"/>
  <Override PartName="/ppt/slideMasters/slideMaster3.xml" ContentType="application/vnd.openxmlformats-officedocument.presentationml.slideMaster+xml"/>
  <Default Extension="png" ContentType="image/png"/>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heme/theme3.xml" ContentType="application/vnd.openxmlformats-officedocument.theme+xml"/>
  <Override PartName="/ppt/slideLayouts/slideLayout4.xml" ContentType="application/vnd.openxmlformats-officedocument.presentationml.slideLayout+xml"/>
  <Override PartName="/ppt/tags/tag4.xml" ContentType="application/vnd.openxmlformats-officedocument.presentationml.tags+xml"/>
  <Override PartName="/ppt/tags/tag5.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Default Extension="jpeg" ContentType="image/jpeg"/>
  <Override PartName="/ppt/slideLayouts/slideLayout2.xml" ContentType="application/vnd.openxmlformats-officedocument.presentationml.slideLayout+xml"/>
  <Default Extension="wmf" ContentType="image/x-wmf"/>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tableStyles.xml" ContentType="application/vnd.openxmlformats-officedocument.presentationml.tableStyles+xml"/>
  <Override PartName="/docProps/custom.xml" ContentType="application/vnd.openxmlformats-officedocument.custom-properties+xml"/>
  <Default Extension="wdp" ContentType="image/vnd.ms-photo"/>
  <Override PartName="/ppt/commentAuthors.xml" ContentType="application/vnd.openxmlformats-officedocument.presentationml.commentAuthors+xml"/>
  <Default Extension="gif" ContentType="image/gif"/>
  <Override PartName="/ppt/slideMasters/slideMaster4.xml" ContentType="application/vnd.openxmlformats-officedocument.presentationml.slideMaster+xml"/>
  <Override PartName="/ppt/handoutMasters/handoutMaster1.xml" ContentType="application/vnd.openxmlformats-officedocument.presentationml.handoutMaster+xml"/>
  <Override PartName="/ppt/viewProps.xml" ContentType="application/vnd.openxmlformats-officedocument.presentationml.viewProps+xml"/>
  <Override PartName="/ppt/theme/theme6.xml" ContentType="application/vnd.openxmlformats-officedocument.theme+xml"/>
  <Override PartName="/ppt/notesSlides/notesSlide4.xml" ContentType="application/vnd.openxmlformats-officedocument.presentationml.notesSlide+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1"/>
    <p:sldMasterId id="2147483662" r:id="rId2"/>
    <p:sldMasterId id="2147483668" r:id="rId3"/>
    <p:sldMasterId id="2147483666" r:id="rId4"/>
  </p:sldMasterIdLst>
  <p:notesMasterIdLst>
    <p:notesMasterId r:id="rId9"/>
  </p:notesMasterIdLst>
  <p:handoutMasterIdLst>
    <p:handoutMasterId r:id="rId10"/>
  </p:handoutMasterIdLst>
  <p:sldIdLst>
    <p:sldId id="285" r:id="rId5"/>
    <p:sldId id="280" r:id="rId6"/>
    <p:sldId id="286" r:id="rId7"/>
    <p:sldId id="287" r:id="rId8"/>
  </p:sldIdLst>
  <p:sldSz cx="6858000" cy="9144000" type="screen4x3"/>
  <p:notesSz cx="6858000" cy="9144000"/>
  <p:defaultTextStyle>
    <a:defPPr>
      <a:defRPr lang="zh-CN"/>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035">
          <p15:clr>
            <a:srgbClr val="A4A3A4"/>
          </p15:clr>
        </p15:guide>
        <p15:guide id="2" orient="horz" pos="139">
          <p15:clr>
            <a:srgbClr val="A4A3A4"/>
          </p15:clr>
        </p15:guide>
        <p15:guide id="3" orient="horz" pos="5300">
          <p15:clr>
            <a:srgbClr val="A4A3A4"/>
          </p15:clr>
        </p15:guide>
        <p15:guide id="4" orient="horz" pos="1269">
          <p15:clr>
            <a:srgbClr val="A4A3A4"/>
          </p15:clr>
        </p15:guide>
        <p15:guide id="5" pos="206">
          <p15:clr>
            <a:srgbClr val="A4A3A4"/>
          </p15:clr>
        </p15:guide>
        <p15:guide id="6" pos="4125">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00301854" initials="Stone" lastIdx="13" clrIdx="0"/>
  <p:cmAuthor id="1" name="Test" initials="T"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66FFFF"/>
    <a:srgbClr val="0066CC"/>
    <a:srgbClr val="FFFF00"/>
    <a:srgbClr val="F6F6F6"/>
    <a:srgbClr val="9609BD"/>
    <a:srgbClr val="0099FF"/>
    <a:srgbClr val="2DA159"/>
    <a:srgbClr val="E6B9B8"/>
    <a:srgbClr val="FF99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19043" autoAdjust="0"/>
    <p:restoredTop sz="94196" autoAdjust="0"/>
  </p:normalViewPr>
  <p:slideViewPr>
    <p:cSldViewPr snapToObjects="1">
      <p:cViewPr>
        <p:scale>
          <a:sx n="125" d="100"/>
          <a:sy n="125" d="100"/>
        </p:scale>
        <p:origin x="-558" y="912"/>
      </p:cViewPr>
      <p:guideLst>
        <p:guide orient="horz" pos="1035"/>
        <p:guide orient="horz" pos="139"/>
        <p:guide orient="horz" pos="5300"/>
        <p:guide orient="horz" pos="1269"/>
        <p:guide pos="206"/>
        <p:guide pos="412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notesMaster" Target="notesMasters/notes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latin typeface="Arial" panose="020B0604020202020204" pitchFamily="34" charset="0"/>
            </a:endParaRPr>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A54676-7DEA-436E-AF3B-06461C31EB4A}" type="datetimeFigureOut">
              <a:rPr lang="zh-CN" altLang="en-US" smtClean="0">
                <a:latin typeface="Arial" panose="020B0604020202020204" pitchFamily="34" charset="0"/>
              </a:rPr>
              <a:pPr/>
              <a:t>2017/5/11</a:t>
            </a:fld>
            <a:endParaRPr lang="zh-CN" altLang="en-US">
              <a:latin typeface="Arial" panose="020B0604020202020204" pitchFamily="34" charset="0"/>
            </a:endParaRPr>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latin typeface="Arial" panose="020B0604020202020204" pitchFamily="34" charset="0"/>
            </a:endParaRPr>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B9544FC-A45F-41AC-9442-DC3CCE943075}" type="slidenum">
              <a:rPr lang="zh-CN" altLang="en-US" smtClean="0">
                <a:latin typeface="Arial" panose="020B0604020202020204" pitchFamily="34" charset="0"/>
              </a:rPr>
              <a:pPr/>
              <a:t>‹#›</a:t>
            </a:fld>
            <a:endParaRPr lang="zh-CN" altLang="en-US">
              <a:latin typeface="Arial" panose="020B0604020202020204" pitchFamily="34" charset="0"/>
            </a:endParaRPr>
          </a:p>
        </p:txBody>
      </p:sp>
    </p:spTree>
    <p:extLst>
      <p:ext uri="{BB962C8B-B14F-4D97-AF65-F5344CB8AC3E}">
        <p14:creationId xmlns:p14="http://schemas.microsoft.com/office/powerpoint/2010/main" xmlns="" val="13075831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latin typeface="Arial" panose="020B0604020202020204" pitchFamily="34" charset="0"/>
            </a:endParaRPr>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4FE7756-C0DB-4A67-A0A1-865792539899}" type="datetimeFigureOut">
              <a:rPr lang="zh-CN" altLang="en-US" smtClean="0">
                <a:latin typeface="Arial" panose="020B0604020202020204" pitchFamily="34" charset="0"/>
              </a:rPr>
              <a:pPr/>
              <a:t>2017/5/11</a:t>
            </a:fld>
            <a:endParaRPr lang="zh-CN" altLang="en-US">
              <a:latin typeface="Arial" panose="020B0604020202020204" pitchFamily="34" charset="0"/>
            </a:endParaRPr>
          </a:p>
        </p:txBody>
      </p:sp>
      <p:sp>
        <p:nvSpPr>
          <p:cNvPr id="4" name="幻灯片图像占位符 3"/>
          <p:cNvSpPr>
            <a:spLocks noGrp="1" noRot="1" noChangeAspect="1"/>
          </p:cNvSpPr>
          <p:nvPr>
            <p:ph type="sldImg" idx="2"/>
          </p:nvPr>
        </p:nvSpPr>
        <p:spPr>
          <a:xfrm>
            <a:off x="2143125" y="685800"/>
            <a:ext cx="2571750" cy="3429000"/>
          </a:xfrm>
          <a:prstGeom prst="rect">
            <a:avLst/>
          </a:prstGeom>
          <a:noFill/>
          <a:ln w="12700">
            <a:solidFill>
              <a:prstClr val="black"/>
            </a:solidFill>
          </a:ln>
        </p:spPr>
        <p:txBody>
          <a:bodyPr vert="horz" lIns="91440" tIns="45720" rIns="91440" bIns="45720" rtlCol="0" anchor="ctr"/>
          <a:lstStyle/>
          <a:p>
            <a:endParaRPr lang="zh-CN" altLang="en-US">
              <a:latin typeface="Arial" panose="020B0604020202020204" pitchFamily="34" charset="0"/>
            </a:endParaRPr>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latin typeface="Arial" panose="020B0604020202020204" pitchFamily="34" charset="0"/>
            </a:endParaRPr>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E454727-679F-4870-B106-9001C49A024F}" type="slidenum">
              <a:rPr lang="zh-CN" altLang="en-US" smtClean="0">
                <a:latin typeface="Arial" panose="020B0604020202020204" pitchFamily="34" charset="0"/>
              </a:rPr>
              <a:pPr/>
              <a:t>‹#›</a:t>
            </a:fld>
            <a:endParaRPr lang="zh-CN" altLang="en-US">
              <a:latin typeface="Arial" panose="020B0604020202020204" pitchFamily="34" charset="0"/>
            </a:endParaRPr>
          </a:p>
        </p:txBody>
      </p:sp>
    </p:spTree>
    <p:extLst>
      <p:ext uri="{BB962C8B-B14F-4D97-AF65-F5344CB8AC3E}">
        <p14:creationId xmlns:p14="http://schemas.microsoft.com/office/powerpoint/2010/main" xmlns="" val="40249451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fld id="{2E454727-679F-4870-B106-9001C49A024F}" type="slidenum">
              <a:rPr lang="zh-CN" altLang="en-US" smtClean="0">
                <a:latin typeface="Arial" panose="020B0604020202020204" pitchFamily="34" charset="0"/>
              </a:rPr>
              <a:pPr/>
              <a:t>1</a:t>
            </a:fld>
            <a:endParaRPr lang="zh-CN" altLang="en-US">
              <a:latin typeface="Arial" panose="020B0604020202020204" pitchFamily="34" charset="0"/>
            </a:endParaRPr>
          </a:p>
        </p:txBody>
      </p:sp>
    </p:spTree>
    <p:extLst>
      <p:ext uri="{BB962C8B-B14F-4D97-AF65-F5344CB8AC3E}">
        <p14:creationId xmlns:p14="http://schemas.microsoft.com/office/powerpoint/2010/main" xmlns="" val="26612302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fld id="{2E454727-679F-4870-B106-9001C49A024F}" type="slidenum">
              <a:rPr lang="zh-CN" altLang="en-US" smtClean="0">
                <a:latin typeface="Arial" panose="020B0604020202020204" pitchFamily="34" charset="0"/>
              </a:rPr>
              <a:pPr/>
              <a:t>2</a:t>
            </a:fld>
            <a:endParaRPr lang="zh-CN" altLang="en-US">
              <a:latin typeface="Arial" panose="020B0604020202020204" pitchFamily="34" charset="0"/>
            </a:endParaRPr>
          </a:p>
        </p:txBody>
      </p:sp>
    </p:spTree>
    <p:extLst>
      <p:ext uri="{BB962C8B-B14F-4D97-AF65-F5344CB8AC3E}">
        <p14:creationId xmlns:p14="http://schemas.microsoft.com/office/powerpoint/2010/main" xmlns="" val="30751020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fld id="{2E454727-679F-4870-B106-9001C49A024F}" type="slidenum">
              <a:rPr lang="zh-CN" altLang="en-US" smtClean="0">
                <a:latin typeface="Arial" panose="020B0604020202020204" pitchFamily="34" charset="0"/>
              </a:rPr>
              <a:pPr/>
              <a:t>3</a:t>
            </a:fld>
            <a:endParaRPr lang="zh-CN" altLang="en-US">
              <a:latin typeface="Arial" panose="020B0604020202020204" pitchFamily="34" charset="0"/>
            </a:endParaRPr>
          </a:p>
        </p:txBody>
      </p:sp>
    </p:spTree>
    <p:extLst>
      <p:ext uri="{BB962C8B-B14F-4D97-AF65-F5344CB8AC3E}">
        <p14:creationId xmlns:p14="http://schemas.microsoft.com/office/powerpoint/2010/main" xmlns="" val="26069454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latin typeface="Arial" panose="020B0604020202020204" pitchFamily="34" charset="0"/>
            </a:endParaRPr>
          </a:p>
        </p:txBody>
      </p:sp>
      <p:sp>
        <p:nvSpPr>
          <p:cNvPr id="4" name="灯片编号占位符 3"/>
          <p:cNvSpPr>
            <a:spLocks noGrp="1"/>
          </p:cNvSpPr>
          <p:nvPr>
            <p:ph type="sldNum" sz="quarter" idx="10"/>
          </p:nvPr>
        </p:nvSpPr>
        <p:spPr/>
        <p:txBody>
          <a:bodyPr/>
          <a:lstStyle/>
          <a:p>
            <a:fld id="{2E454727-679F-4870-B106-9001C49A024F}" type="slidenum">
              <a:rPr lang="zh-CN" altLang="en-US" smtClean="0">
                <a:latin typeface="Arial" panose="020B0604020202020204" pitchFamily="34" charset="0"/>
              </a:rPr>
              <a:pPr/>
              <a:t>4</a:t>
            </a:fld>
            <a:endParaRPr lang="zh-CN" altLang="en-US">
              <a:latin typeface="Arial" panose="020B0604020202020204" pitchFamily="34" charset="0"/>
            </a:endParaRPr>
          </a:p>
        </p:txBody>
      </p:sp>
    </p:spTree>
    <p:extLst>
      <p:ext uri="{BB962C8B-B14F-4D97-AF65-F5344CB8AC3E}">
        <p14:creationId xmlns:p14="http://schemas.microsoft.com/office/powerpoint/2010/main" xmlns="" val="17509021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1376773" y="2652231"/>
            <a:ext cx="3644051" cy="1107996"/>
          </a:xfrm>
          <a:prstGeom prst="rect">
            <a:avLst/>
          </a:prstGeom>
        </p:spPr>
        <p:txBody>
          <a:bodyPr lIns="0" tIns="0" rIns="0" bIns="0">
            <a:spAutoFit/>
          </a:bodyPr>
          <a:lstStyle>
            <a:lvl1pPr algn="l">
              <a:defRPr sz="3600" b="1" baseline="0">
                <a:solidFill>
                  <a:schemeClr val="bg1">
                    <a:lumMod val="95000"/>
                  </a:schemeClr>
                </a:solidFill>
                <a:latin typeface="FrutigerNext LT Regular" pitchFamily="34" charset="0"/>
                <a:ea typeface="黑体" pitchFamily="49" charset="-122"/>
                <a:cs typeface="Arial" pitchFamily="34" charset="0"/>
              </a:defRPr>
            </a:lvl1pPr>
          </a:lstStyle>
          <a:p>
            <a:r>
              <a:rPr lang="en-US" altLang="zh-CN" dirty="0" smtClean="0"/>
              <a:t>Headline in Arial bold 48 point</a:t>
            </a:r>
          </a:p>
        </p:txBody>
      </p:sp>
      <p:sp>
        <p:nvSpPr>
          <p:cNvPr id="3" name="副标题 2"/>
          <p:cNvSpPr>
            <a:spLocks noGrp="1"/>
          </p:cNvSpPr>
          <p:nvPr>
            <p:ph type="subTitle" idx="1" hasCustomPrompt="1"/>
          </p:nvPr>
        </p:nvSpPr>
        <p:spPr>
          <a:xfrm>
            <a:off x="1376773" y="4586711"/>
            <a:ext cx="3644051" cy="276999"/>
          </a:xfrm>
          <a:prstGeom prst="rect">
            <a:avLst/>
          </a:prstGeom>
        </p:spPr>
        <p:txBody>
          <a:bodyPr lIns="0" tIns="0" rIns="0" bIns="0">
            <a:spAutoFit/>
          </a:bodyPr>
          <a:lstStyle>
            <a:lvl1pPr marL="0" indent="0" algn="l">
              <a:buNone/>
              <a:defRPr sz="1800">
                <a:solidFill>
                  <a:schemeClr val="bg1">
                    <a:lumMod val="95000"/>
                  </a:schemeClr>
                </a:solidFill>
                <a:latin typeface="FrutigerNext LT Medium" pitchFamily="34" charset="0"/>
                <a:ea typeface="黑体" pitchFamily="49" charset="-122"/>
                <a:cs typeface="Arial" pitchFamily="34" charset="0"/>
              </a:defRPr>
            </a:lvl1pPr>
            <a:lvl2pPr marL="511984" indent="0" algn="ctr">
              <a:buNone/>
              <a:defRPr>
                <a:solidFill>
                  <a:schemeClr val="tx1">
                    <a:tint val="75000"/>
                  </a:schemeClr>
                </a:solidFill>
              </a:defRPr>
            </a:lvl2pPr>
            <a:lvl3pPr marL="1023967" indent="0" algn="ctr">
              <a:buNone/>
              <a:defRPr>
                <a:solidFill>
                  <a:schemeClr val="tx1">
                    <a:tint val="75000"/>
                  </a:schemeClr>
                </a:solidFill>
              </a:defRPr>
            </a:lvl3pPr>
            <a:lvl4pPr marL="1535951" indent="0" algn="ctr">
              <a:buNone/>
              <a:defRPr>
                <a:solidFill>
                  <a:schemeClr val="tx1">
                    <a:tint val="75000"/>
                  </a:schemeClr>
                </a:solidFill>
              </a:defRPr>
            </a:lvl4pPr>
            <a:lvl5pPr marL="2047934" indent="0" algn="ctr">
              <a:buNone/>
              <a:defRPr>
                <a:solidFill>
                  <a:schemeClr val="tx1">
                    <a:tint val="75000"/>
                  </a:schemeClr>
                </a:solidFill>
              </a:defRPr>
            </a:lvl5pPr>
            <a:lvl6pPr marL="2559918" indent="0" algn="ctr">
              <a:buNone/>
              <a:defRPr>
                <a:solidFill>
                  <a:schemeClr val="tx1">
                    <a:tint val="75000"/>
                  </a:schemeClr>
                </a:solidFill>
              </a:defRPr>
            </a:lvl6pPr>
            <a:lvl7pPr marL="3071901" indent="0" algn="ctr">
              <a:buNone/>
              <a:defRPr>
                <a:solidFill>
                  <a:schemeClr val="tx1">
                    <a:tint val="75000"/>
                  </a:schemeClr>
                </a:solidFill>
              </a:defRPr>
            </a:lvl7pPr>
            <a:lvl8pPr marL="3583884" indent="0" algn="ctr">
              <a:buNone/>
              <a:defRPr>
                <a:solidFill>
                  <a:schemeClr val="tx1">
                    <a:tint val="75000"/>
                  </a:schemeClr>
                </a:solidFill>
              </a:defRPr>
            </a:lvl8pPr>
            <a:lvl9pPr marL="4095868" indent="0" algn="ctr">
              <a:buNone/>
              <a:defRPr>
                <a:solidFill>
                  <a:schemeClr val="tx1">
                    <a:tint val="75000"/>
                  </a:schemeClr>
                </a:solidFill>
              </a:defRPr>
            </a:lvl9pPr>
          </a:lstStyle>
          <a:p>
            <a:r>
              <a:rPr lang="en-US" altLang="zh-CN" dirty="0" smtClean="0"/>
              <a:t>Department name</a:t>
            </a:r>
            <a:endParaRPr lang="zh-CN" altLang="en-US" dirty="0"/>
          </a:p>
        </p:txBody>
      </p:sp>
    </p:spTree>
    <p:extLst>
      <p:ext uri="{BB962C8B-B14F-4D97-AF65-F5344CB8AC3E}">
        <p14:creationId xmlns:p14="http://schemas.microsoft.com/office/powerpoint/2010/main" xmlns="" val="34821262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4" name="副标题 2"/>
          <p:cNvSpPr>
            <a:spLocks noGrp="1"/>
          </p:cNvSpPr>
          <p:nvPr>
            <p:ph type="subTitle" idx="1" hasCustomPrompt="1"/>
          </p:nvPr>
        </p:nvSpPr>
        <p:spPr>
          <a:xfrm>
            <a:off x="314174" y="3528679"/>
            <a:ext cx="6229652" cy="2086643"/>
          </a:xfrm>
          <a:prstGeom prst="rect">
            <a:avLst/>
          </a:prstGeom>
        </p:spPr>
        <p:txBody>
          <a:bodyPr>
            <a:normAutofit/>
          </a:bodyPr>
          <a:lstStyle>
            <a:lvl1pPr marL="0" marR="0" indent="0" algn="ctr" defTabSz="1219444" rtl="0" eaLnBrk="1" fontAlgn="auto" latinLnBrk="0" hangingPunct="1">
              <a:lnSpc>
                <a:spcPct val="100000"/>
              </a:lnSpc>
              <a:spcBef>
                <a:spcPct val="20000"/>
              </a:spcBef>
              <a:spcAft>
                <a:spcPts val="0"/>
              </a:spcAft>
              <a:buClrTx/>
              <a:buSzTx/>
              <a:buFont typeface="Arial" pitchFamily="34" charset="0"/>
              <a:buNone/>
              <a:tabLst/>
              <a:defRPr sz="3200" baseline="0">
                <a:solidFill>
                  <a:schemeClr val="tx1"/>
                </a:solidFill>
                <a:latin typeface="+mn-ea"/>
                <a:ea typeface="+mn-ea"/>
              </a:defRPr>
            </a:lvl1pPr>
            <a:lvl2pPr marL="609722" indent="0" algn="ctr">
              <a:buNone/>
              <a:defRPr>
                <a:solidFill>
                  <a:schemeClr val="tx1">
                    <a:tint val="75000"/>
                  </a:schemeClr>
                </a:solidFill>
              </a:defRPr>
            </a:lvl2pPr>
            <a:lvl3pPr marL="1219444" indent="0" algn="ctr">
              <a:buNone/>
              <a:defRPr>
                <a:solidFill>
                  <a:schemeClr val="tx1">
                    <a:tint val="75000"/>
                  </a:schemeClr>
                </a:solidFill>
              </a:defRPr>
            </a:lvl3pPr>
            <a:lvl4pPr marL="1829166" indent="0" algn="ctr">
              <a:buNone/>
              <a:defRPr>
                <a:solidFill>
                  <a:schemeClr val="tx1">
                    <a:tint val="75000"/>
                  </a:schemeClr>
                </a:solidFill>
              </a:defRPr>
            </a:lvl4pPr>
            <a:lvl5pPr marL="2438888" indent="0" algn="ctr">
              <a:buNone/>
              <a:defRPr>
                <a:solidFill>
                  <a:schemeClr val="tx1">
                    <a:tint val="75000"/>
                  </a:schemeClr>
                </a:solidFill>
              </a:defRPr>
            </a:lvl5pPr>
            <a:lvl6pPr marL="3048610" indent="0" algn="ctr">
              <a:buNone/>
              <a:defRPr>
                <a:solidFill>
                  <a:schemeClr val="tx1">
                    <a:tint val="75000"/>
                  </a:schemeClr>
                </a:solidFill>
              </a:defRPr>
            </a:lvl6pPr>
            <a:lvl7pPr marL="3658332" indent="0" algn="ctr">
              <a:buNone/>
              <a:defRPr>
                <a:solidFill>
                  <a:schemeClr val="tx1">
                    <a:tint val="75000"/>
                  </a:schemeClr>
                </a:solidFill>
              </a:defRPr>
            </a:lvl7pPr>
            <a:lvl8pPr marL="4268053" indent="0" algn="ctr">
              <a:buNone/>
              <a:defRPr>
                <a:solidFill>
                  <a:schemeClr val="tx1">
                    <a:tint val="75000"/>
                  </a:schemeClr>
                </a:solidFill>
              </a:defRPr>
            </a:lvl8pPr>
            <a:lvl9pPr marL="4877775" indent="0" algn="ctr">
              <a:buNone/>
              <a:defRPr>
                <a:solidFill>
                  <a:schemeClr val="tx1">
                    <a:tint val="75000"/>
                  </a:schemeClr>
                </a:solidFill>
              </a:defRPr>
            </a:lvl9pPr>
          </a:lstStyle>
          <a:p>
            <a:r>
              <a:rPr lang="zh-CN" altLang="en-US" dirty="0" smtClean="0"/>
              <a:t>微软雅黑 </a:t>
            </a:r>
            <a:r>
              <a:rPr lang="en-US" altLang="zh-CN" dirty="0" smtClean="0"/>
              <a:t>32pt </a:t>
            </a:r>
            <a:r>
              <a:rPr lang="zh-CN" altLang="en-US" dirty="0" smtClean="0"/>
              <a:t>，居中，最多两行</a:t>
            </a:r>
            <a:endParaRPr lang="zh-CN" altLang="en-US" dirty="0"/>
          </a:p>
        </p:txBody>
      </p:sp>
    </p:spTree>
    <p:extLst>
      <p:ext uri="{BB962C8B-B14F-4D97-AF65-F5344CB8AC3E}">
        <p14:creationId xmlns:p14="http://schemas.microsoft.com/office/powerpoint/2010/main" xmlns="" val="348630339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4" name="副标题 2"/>
          <p:cNvSpPr>
            <a:spLocks noGrp="1"/>
          </p:cNvSpPr>
          <p:nvPr>
            <p:ph type="subTitle" idx="1" hasCustomPrompt="1"/>
          </p:nvPr>
        </p:nvSpPr>
        <p:spPr>
          <a:xfrm>
            <a:off x="318787" y="894083"/>
            <a:ext cx="6229652" cy="1120984"/>
          </a:xfrm>
          <a:prstGeom prst="rect">
            <a:avLst/>
          </a:prstGeom>
        </p:spPr>
        <p:txBody>
          <a:bodyPr>
            <a:normAutofit/>
          </a:bodyPr>
          <a:lstStyle>
            <a:lvl1pPr marL="0" marR="0" indent="0" algn="l" defTabSz="1219444" rtl="0" eaLnBrk="1" fontAlgn="auto" latinLnBrk="0" hangingPunct="1">
              <a:lnSpc>
                <a:spcPct val="100000"/>
              </a:lnSpc>
              <a:spcBef>
                <a:spcPct val="20000"/>
              </a:spcBef>
              <a:spcAft>
                <a:spcPts val="0"/>
              </a:spcAft>
              <a:buClrTx/>
              <a:buSzTx/>
              <a:buFont typeface="Arial" pitchFamily="34" charset="0"/>
              <a:buNone/>
              <a:tabLst/>
              <a:defRPr sz="2800" baseline="0">
                <a:solidFill>
                  <a:schemeClr val="tx1"/>
                </a:solidFill>
                <a:latin typeface="+mn-ea"/>
                <a:ea typeface="+mn-ea"/>
              </a:defRPr>
            </a:lvl1pPr>
            <a:lvl2pPr marL="609722" indent="0" algn="ctr">
              <a:buNone/>
              <a:defRPr>
                <a:solidFill>
                  <a:schemeClr val="tx1">
                    <a:tint val="75000"/>
                  </a:schemeClr>
                </a:solidFill>
              </a:defRPr>
            </a:lvl2pPr>
            <a:lvl3pPr marL="1219444" indent="0" algn="ctr">
              <a:buNone/>
              <a:defRPr>
                <a:solidFill>
                  <a:schemeClr val="tx1">
                    <a:tint val="75000"/>
                  </a:schemeClr>
                </a:solidFill>
              </a:defRPr>
            </a:lvl3pPr>
            <a:lvl4pPr marL="1829166" indent="0" algn="ctr">
              <a:buNone/>
              <a:defRPr>
                <a:solidFill>
                  <a:schemeClr val="tx1">
                    <a:tint val="75000"/>
                  </a:schemeClr>
                </a:solidFill>
              </a:defRPr>
            </a:lvl4pPr>
            <a:lvl5pPr marL="2438888" indent="0" algn="ctr">
              <a:buNone/>
              <a:defRPr>
                <a:solidFill>
                  <a:schemeClr val="tx1">
                    <a:tint val="75000"/>
                  </a:schemeClr>
                </a:solidFill>
              </a:defRPr>
            </a:lvl5pPr>
            <a:lvl6pPr marL="3048610" indent="0" algn="ctr">
              <a:buNone/>
              <a:defRPr>
                <a:solidFill>
                  <a:schemeClr val="tx1">
                    <a:tint val="75000"/>
                  </a:schemeClr>
                </a:solidFill>
              </a:defRPr>
            </a:lvl6pPr>
            <a:lvl7pPr marL="3658332" indent="0" algn="ctr">
              <a:buNone/>
              <a:defRPr>
                <a:solidFill>
                  <a:schemeClr val="tx1">
                    <a:tint val="75000"/>
                  </a:schemeClr>
                </a:solidFill>
              </a:defRPr>
            </a:lvl7pPr>
            <a:lvl8pPr marL="4268053" indent="0" algn="ctr">
              <a:buNone/>
              <a:defRPr>
                <a:solidFill>
                  <a:schemeClr val="tx1">
                    <a:tint val="75000"/>
                  </a:schemeClr>
                </a:solidFill>
              </a:defRPr>
            </a:lvl8pPr>
            <a:lvl9pPr marL="4877775" indent="0" algn="ctr">
              <a:buNone/>
              <a:defRPr>
                <a:solidFill>
                  <a:schemeClr val="tx1">
                    <a:tint val="75000"/>
                  </a:schemeClr>
                </a:solidFill>
              </a:defRPr>
            </a:lvl9pPr>
          </a:lstStyle>
          <a:p>
            <a:r>
              <a:rPr lang="zh-CN" altLang="en-US" dirty="0" smtClean="0"/>
              <a:t>微软雅黑 </a:t>
            </a:r>
            <a:r>
              <a:rPr lang="en-US" altLang="zh-CN" dirty="0" smtClean="0"/>
              <a:t>32pt </a:t>
            </a:r>
            <a:r>
              <a:rPr lang="zh-CN" altLang="en-US" dirty="0" smtClean="0"/>
              <a:t>，左对齐，只放一行</a:t>
            </a:r>
            <a:endParaRPr lang="zh-CN" altLang="en-US" dirty="0"/>
          </a:p>
        </p:txBody>
      </p:sp>
      <p:sp>
        <p:nvSpPr>
          <p:cNvPr id="6" name="文本占位符 5"/>
          <p:cNvSpPr>
            <a:spLocks noGrp="1"/>
          </p:cNvSpPr>
          <p:nvPr>
            <p:ph type="body" sz="quarter" idx="10" hasCustomPrompt="1"/>
          </p:nvPr>
        </p:nvSpPr>
        <p:spPr>
          <a:xfrm>
            <a:off x="327422" y="2015067"/>
            <a:ext cx="6221016" cy="1219200"/>
          </a:xfrm>
          <a:prstGeom prst="rect">
            <a:avLst/>
          </a:prstGeom>
        </p:spPr>
        <p:txBody>
          <a:bodyPr/>
          <a:lstStyle>
            <a:lvl1pPr>
              <a:buFontTx/>
              <a:buNone/>
              <a:defRPr sz="2000"/>
            </a:lvl1pPr>
            <a:lvl2pPr>
              <a:buFontTx/>
              <a:buNone/>
              <a:defRPr/>
            </a:lvl2pPr>
            <a:lvl3pPr>
              <a:buFontTx/>
              <a:buNone/>
              <a:defRPr/>
            </a:lvl3pPr>
            <a:lvl4pPr>
              <a:buFontTx/>
              <a:buNone/>
              <a:defRPr/>
            </a:lvl4pPr>
            <a:lvl5pPr>
              <a:buFontTx/>
              <a:buNone/>
              <a:defRPr/>
            </a:lvl5pPr>
          </a:lstStyle>
          <a:p>
            <a:r>
              <a:rPr lang="zh-CN" altLang="en-US" dirty="0" smtClean="0"/>
              <a:t>微软雅黑 </a:t>
            </a:r>
            <a:r>
              <a:rPr lang="en-US" altLang="zh-CN" dirty="0" smtClean="0"/>
              <a:t>20pt </a:t>
            </a:r>
            <a:r>
              <a:rPr lang="zh-CN" altLang="en-US" dirty="0" smtClean="0"/>
              <a:t>，左对齐</a:t>
            </a:r>
            <a:endParaRPr lang="zh-CN" altLang="en-US" dirty="0"/>
          </a:p>
        </p:txBody>
      </p:sp>
    </p:spTree>
    <p:extLst>
      <p:ext uri="{BB962C8B-B14F-4D97-AF65-F5344CB8AC3E}">
        <p14:creationId xmlns:p14="http://schemas.microsoft.com/office/powerpoint/2010/main" xmlns="" val="152912998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18691830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theme" Target="../theme/theme2.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theme" Target="../theme/theme3.xml"/><Relationship Id="rId1" Type="http://schemas.openxmlformats.org/officeDocument/2006/relationships/slideLayout" Target="../slideLayouts/slideLayout3.xml"/><Relationship Id="rId5" Type="http://schemas.openxmlformats.org/officeDocument/2006/relationships/image" Target="../media/image3.png"/><Relationship Id="rId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theme" Target="../theme/theme4.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3" cstate="print"/>
          <a:stretch>
            <a:fillRect/>
          </a:stretch>
        </p:blipFill>
        <p:spPr>
          <a:xfrm>
            <a:off x="1522" y="0"/>
            <a:ext cx="6854956" cy="9144000"/>
          </a:xfrm>
          <a:prstGeom prst="rect">
            <a:avLst/>
          </a:prstGeom>
        </p:spPr>
      </p:pic>
    </p:spTree>
    <p:extLst>
      <p:ext uri="{BB962C8B-B14F-4D97-AF65-F5344CB8AC3E}">
        <p14:creationId xmlns:p14="http://schemas.microsoft.com/office/powerpoint/2010/main" xmlns="" val="3912550071"/>
      </p:ext>
    </p:extLst>
  </p:cSld>
  <p:clrMap bg1="lt1" tx1="dk1" bg2="lt2" tx2="dk2" accent1="accent1" accent2="accent2" accent3="accent3" accent4="accent4" accent5="accent5" accent6="accent6" hlink="hlink" folHlink="folHlink"/>
  <p:sldLayoutIdLst>
    <p:sldLayoutId id="2147483653" r:id="rId1"/>
  </p:sldLayoutIdLst>
  <p:timing>
    <p:tnLst>
      <p:par>
        <p:cTn id="1" dur="indefinite" restart="never" nodeType="tmRoot"/>
      </p:par>
    </p:tnLst>
  </p:timing>
  <p:txStyles>
    <p:titleStyle>
      <a:lvl1pPr algn="ctr" defTabSz="1023967" rtl="0" eaLnBrk="1" latinLnBrk="0" hangingPunct="1">
        <a:spcBef>
          <a:spcPct val="0"/>
        </a:spcBef>
        <a:buNone/>
        <a:defRPr sz="5000" kern="1200">
          <a:solidFill>
            <a:schemeClr val="tx1"/>
          </a:solidFill>
          <a:latin typeface="+mj-lt"/>
          <a:ea typeface="+mj-ea"/>
          <a:cs typeface="+mj-cs"/>
        </a:defRPr>
      </a:lvl1pPr>
    </p:titleStyle>
    <p:bodyStyle>
      <a:lvl1pPr marL="383987" indent="-383987" algn="l" defTabSz="1023967"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831973" indent="-319990" algn="l" defTabSz="1023967"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79959" indent="-255992" algn="l" defTabSz="1023967"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791942"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4pPr>
      <a:lvl5pPr marL="2303926"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5pPr>
      <a:lvl6pPr marL="2815910"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zh-CN"/>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2" descr="C:\Users\z00124665\Desktop\图形1.wmf"/>
          <p:cNvPicPr>
            <a:picLocks noChangeAspect="1" noChangeArrowheads="1"/>
          </p:cNvPicPr>
          <p:nvPr userDrawn="1"/>
        </p:nvPicPr>
        <p:blipFill>
          <a:blip r:embed="rId3" cstate="print"/>
          <a:srcRect/>
          <a:stretch>
            <a:fillRect/>
          </a:stretch>
        </p:blipFill>
        <p:spPr bwMode="auto">
          <a:xfrm>
            <a:off x="342306" y="8701260"/>
            <a:ext cx="1991915" cy="161289"/>
          </a:xfrm>
          <a:prstGeom prst="rect">
            <a:avLst/>
          </a:prstGeom>
          <a:noFill/>
        </p:spPr>
      </p:pic>
      <p:grpSp>
        <p:nvGrpSpPr>
          <p:cNvPr id="12" name="组合 11"/>
          <p:cNvGrpSpPr/>
          <p:nvPr userDrawn="1"/>
        </p:nvGrpSpPr>
        <p:grpSpPr>
          <a:xfrm>
            <a:off x="327423" y="625046"/>
            <a:ext cx="6221014" cy="7937110"/>
            <a:chOff x="436563" y="468784"/>
            <a:chExt cx="11564937" cy="5952832"/>
          </a:xfrm>
        </p:grpSpPr>
        <p:cxnSp>
          <p:nvCxnSpPr>
            <p:cNvPr id="4" name="直接连接符 3"/>
            <p:cNvCxnSpPr/>
            <p:nvPr userDrawn="1"/>
          </p:nvCxnSpPr>
          <p:spPr>
            <a:xfrm>
              <a:off x="436563" y="468784"/>
              <a:ext cx="115395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userDrawn="1"/>
          </p:nvCxnSpPr>
          <p:spPr>
            <a:xfrm>
              <a:off x="461963" y="6421616"/>
              <a:ext cx="115395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11" name="图片 10" descr="leading-new-ict.png"/>
          <p:cNvPicPr>
            <a:picLocks noChangeAspect="1"/>
          </p:cNvPicPr>
          <p:nvPr userDrawn="1"/>
        </p:nvPicPr>
        <p:blipFill>
          <a:blip r:embed="rId4" cstate="print"/>
          <a:stretch>
            <a:fillRect/>
          </a:stretch>
        </p:blipFill>
        <p:spPr>
          <a:xfrm>
            <a:off x="5474609" y="324579"/>
            <a:ext cx="1073828" cy="144000"/>
          </a:xfrm>
          <a:prstGeom prst="rect">
            <a:avLst/>
          </a:prstGeom>
        </p:spPr>
      </p:pic>
      <p:pic>
        <p:nvPicPr>
          <p:cNvPr id="9" name="Picture 2" descr="E:\01 日常工作\03 品牌规范设计\公司广告源文档\HW LOGO(horizontal）111.png"/>
          <p:cNvPicPr>
            <a:picLocks noChangeAspect="1" noChangeArrowheads="1"/>
          </p:cNvPicPr>
          <p:nvPr userDrawn="1"/>
        </p:nvPicPr>
        <p:blipFill>
          <a:blip r:embed="rId5" cstate="print"/>
          <a:srcRect/>
          <a:stretch>
            <a:fillRect/>
          </a:stretch>
        </p:blipFill>
        <p:spPr bwMode="auto">
          <a:xfrm>
            <a:off x="5611538" y="8576331"/>
            <a:ext cx="936900" cy="286218"/>
          </a:xfrm>
          <a:prstGeom prst="rect">
            <a:avLst/>
          </a:prstGeom>
          <a:noFill/>
        </p:spPr>
      </p:pic>
    </p:spTree>
    <p:extLst>
      <p:ext uri="{BB962C8B-B14F-4D97-AF65-F5344CB8AC3E}">
        <p14:creationId xmlns:p14="http://schemas.microsoft.com/office/powerpoint/2010/main" xmlns="" val="3534861669"/>
      </p:ext>
    </p:extLst>
  </p:cSld>
  <p:clrMap bg1="lt1" tx1="dk1" bg2="lt2" tx2="dk2" accent1="accent1" accent2="accent2" accent3="accent3" accent4="accent4" accent5="accent5" accent6="accent6" hlink="hlink" folHlink="folHlink"/>
  <p:sldLayoutIdLst>
    <p:sldLayoutId id="2147483663" r:id="rId1"/>
  </p:sldLayoutIdLst>
  <p:timing>
    <p:tnLst>
      <p:par>
        <p:cTn id="1" dur="indefinite" restart="never" nodeType="tmRoot"/>
      </p:par>
    </p:tnLst>
  </p:timing>
  <p:txStyles>
    <p:titleStyle>
      <a:lvl1pPr algn="ctr" defTabSz="1023967" rtl="0" eaLnBrk="1" latinLnBrk="0" hangingPunct="1">
        <a:spcBef>
          <a:spcPct val="0"/>
        </a:spcBef>
        <a:buNone/>
        <a:defRPr sz="5000" kern="1200">
          <a:solidFill>
            <a:schemeClr val="tx1"/>
          </a:solidFill>
          <a:latin typeface="+mj-lt"/>
          <a:ea typeface="+mj-ea"/>
          <a:cs typeface="+mj-cs"/>
        </a:defRPr>
      </a:lvl1pPr>
    </p:titleStyle>
    <p:bodyStyle>
      <a:lvl1pPr marL="383987" indent="-383987" algn="l" defTabSz="1023967"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831973" indent="-319990" algn="l" defTabSz="1023967"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79959" indent="-255992" algn="l" defTabSz="1023967"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791942"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4pPr>
      <a:lvl5pPr marL="2303926"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5pPr>
      <a:lvl6pPr marL="2815910"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zh-CN"/>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2" descr="C:\Users\z00124665\Desktop\图形1.wmf"/>
          <p:cNvPicPr>
            <a:picLocks noChangeAspect="1" noChangeArrowheads="1"/>
          </p:cNvPicPr>
          <p:nvPr userDrawn="1"/>
        </p:nvPicPr>
        <p:blipFill>
          <a:blip r:embed="rId3" cstate="print"/>
          <a:srcRect/>
          <a:stretch>
            <a:fillRect/>
          </a:stretch>
        </p:blipFill>
        <p:spPr bwMode="auto">
          <a:xfrm>
            <a:off x="342306" y="8701260"/>
            <a:ext cx="1991915" cy="161289"/>
          </a:xfrm>
          <a:prstGeom prst="rect">
            <a:avLst/>
          </a:prstGeom>
          <a:noFill/>
        </p:spPr>
      </p:pic>
      <p:pic>
        <p:nvPicPr>
          <p:cNvPr id="9" name="Picture 2" descr="E:\01 日常工作\03 品牌规范设计\公司广告源文档\HW LOGO(horizontal）111.png"/>
          <p:cNvPicPr>
            <a:picLocks noChangeAspect="1" noChangeArrowheads="1"/>
          </p:cNvPicPr>
          <p:nvPr userDrawn="1"/>
        </p:nvPicPr>
        <p:blipFill>
          <a:blip r:embed="rId4" cstate="print"/>
          <a:srcRect/>
          <a:stretch>
            <a:fillRect/>
          </a:stretch>
        </p:blipFill>
        <p:spPr bwMode="auto">
          <a:xfrm>
            <a:off x="5611538" y="8576331"/>
            <a:ext cx="936900" cy="286218"/>
          </a:xfrm>
          <a:prstGeom prst="rect">
            <a:avLst/>
          </a:prstGeom>
          <a:noFill/>
        </p:spPr>
      </p:pic>
      <p:grpSp>
        <p:nvGrpSpPr>
          <p:cNvPr id="10" name="组合 9"/>
          <p:cNvGrpSpPr/>
          <p:nvPr userDrawn="1"/>
        </p:nvGrpSpPr>
        <p:grpSpPr>
          <a:xfrm>
            <a:off x="327423" y="625046"/>
            <a:ext cx="6221014" cy="7929804"/>
            <a:chOff x="436563" y="468784"/>
            <a:chExt cx="11564937" cy="5947353"/>
          </a:xfrm>
        </p:grpSpPr>
        <p:cxnSp>
          <p:nvCxnSpPr>
            <p:cNvPr id="11" name="直接连接符 10"/>
            <p:cNvCxnSpPr/>
            <p:nvPr userDrawn="1"/>
          </p:nvCxnSpPr>
          <p:spPr>
            <a:xfrm>
              <a:off x="436563" y="468784"/>
              <a:ext cx="115395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userDrawn="1"/>
          </p:nvCxnSpPr>
          <p:spPr>
            <a:xfrm>
              <a:off x="461963" y="6416137"/>
              <a:ext cx="115395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13" name="图片 12" descr="leading-new-ict.png"/>
          <p:cNvPicPr>
            <a:picLocks noChangeAspect="1"/>
          </p:cNvPicPr>
          <p:nvPr userDrawn="1"/>
        </p:nvPicPr>
        <p:blipFill>
          <a:blip r:embed="rId5" cstate="print"/>
          <a:stretch>
            <a:fillRect/>
          </a:stretch>
        </p:blipFill>
        <p:spPr>
          <a:xfrm>
            <a:off x="5474609" y="324579"/>
            <a:ext cx="1073828" cy="144000"/>
          </a:xfrm>
          <a:prstGeom prst="rect">
            <a:avLst/>
          </a:prstGeom>
        </p:spPr>
      </p:pic>
    </p:spTree>
    <p:extLst>
      <p:ext uri="{BB962C8B-B14F-4D97-AF65-F5344CB8AC3E}">
        <p14:creationId xmlns:p14="http://schemas.microsoft.com/office/powerpoint/2010/main" xmlns="" val="1096081297"/>
      </p:ext>
    </p:extLst>
  </p:cSld>
  <p:clrMap bg1="lt1" tx1="dk1" bg2="lt2" tx2="dk2" accent1="accent1" accent2="accent2" accent3="accent3" accent4="accent4" accent5="accent5" accent6="accent6" hlink="hlink" folHlink="folHlink"/>
  <p:sldLayoutIdLst>
    <p:sldLayoutId id="2147483669" r:id="rId1"/>
  </p:sldLayoutIdLst>
  <p:timing>
    <p:tnLst>
      <p:par>
        <p:cTn id="1" dur="indefinite" restart="never" nodeType="tmRoot"/>
      </p:par>
    </p:tnLst>
  </p:timing>
  <p:txStyles>
    <p:titleStyle>
      <a:lvl1pPr algn="ctr" defTabSz="1023967" rtl="0" eaLnBrk="1" latinLnBrk="0" hangingPunct="1">
        <a:spcBef>
          <a:spcPct val="0"/>
        </a:spcBef>
        <a:buNone/>
        <a:defRPr sz="5000" kern="1200">
          <a:solidFill>
            <a:schemeClr val="tx1"/>
          </a:solidFill>
          <a:latin typeface="+mj-lt"/>
          <a:ea typeface="+mj-ea"/>
          <a:cs typeface="+mj-cs"/>
        </a:defRPr>
      </a:lvl1pPr>
    </p:titleStyle>
    <p:bodyStyle>
      <a:lvl1pPr marL="383987" indent="-383987" algn="l" defTabSz="1023967"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831973" indent="-319990" algn="l" defTabSz="1023967"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79959" indent="-255992" algn="l" defTabSz="1023967"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791942"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4pPr>
      <a:lvl5pPr marL="2303926"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5pPr>
      <a:lvl6pPr marL="2815910"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zh-CN"/>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3" cstate="print"/>
          <a:stretch>
            <a:fillRect/>
          </a:stretch>
        </p:blipFill>
        <p:spPr>
          <a:xfrm>
            <a:off x="1522" y="0"/>
            <a:ext cx="6854956" cy="9144000"/>
          </a:xfrm>
          <a:prstGeom prst="rect">
            <a:avLst/>
          </a:prstGeom>
        </p:spPr>
      </p:pic>
      <p:sp>
        <p:nvSpPr>
          <p:cNvPr id="3" name="TextBox 2"/>
          <p:cNvSpPr txBox="1"/>
          <p:nvPr userDrawn="1"/>
        </p:nvSpPr>
        <p:spPr>
          <a:xfrm>
            <a:off x="1388153" y="3036889"/>
            <a:ext cx="4081695" cy="1200329"/>
          </a:xfrm>
          <a:prstGeom prst="rect">
            <a:avLst/>
          </a:prstGeom>
          <a:noFill/>
        </p:spPr>
        <p:txBody>
          <a:bodyPr wrap="none" rtlCol="0">
            <a:spAutoFit/>
          </a:bodyPr>
          <a:lstStyle/>
          <a:p>
            <a:pPr algn="ctr">
              <a:buNone/>
            </a:pPr>
            <a:r>
              <a:rPr lang="en-US" altLang="zh-CN" sz="7200" dirty="0" smtClean="0">
                <a:solidFill>
                  <a:srgbClr val="3E3E3E"/>
                </a:solidFill>
                <a:latin typeface="Arial" panose="020B0604020202020204" pitchFamily="34" charset="0"/>
              </a:rPr>
              <a:t>THANK YOU</a:t>
            </a:r>
            <a:endParaRPr lang="zh-CN" altLang="en-US" sz="7200" dirty="0">
              <a:solidFill>
                <a:srgbClr val="3E3E3E"/>
              </a:solidFill>
              <a:latin typeface="Arial" panose="020B0604020202020204" pitchFamily="34" charset="0"/>
            </a:endParaRPr>
          </a:p>
        </p:txBody>
      </p:sp>
      <p:sp>
        <p:nvSpPr>
          <p:cNvPr id="4" name="TextBox 3"/>
          <p:cNvSpPr txBox="1"/>
          <p:nvPr userDrawn="1"/>
        </p:nvSpPr>
        <p:spPr>
          <a:xfrm>
            <a:off x="327423" y="7264719"/>
            <a:ext cx="6221015" cy="1169551"/>
          </a:xfrm>
          <a:prstGeom prst="rect">
            <a:avLst/>
          </a:prstGeom>
          <a:noFill/>
        </p:spPr>
        <p:txBody>
          <a:bodyPr wrap="square" rtlCol="0">
            <a:spAutoFit/>
          </a:bodyPr>
          <a:lstStyle/>
          <a:p>
            <a:pPr algn="l">
              <a:lnSpc>
                <a:spcPct val="100000"/>
              </a:lnSpc>
              <a:buNone/>
            </a:pPr>
            <a:r>
              <a:rPr lang="en-US" altLang="zh-CN" sz="1000" b="1" kern="1200" dirty="0" smtClean="0">
                <a:solidFill>
                  <a:srgbClr val="535353"/>
                </a:solidFill>
                <a:effectLst/>
                <a:latin typeface="Arial" pitchFamily="34" charset="0"/>
                <a:ea typeface="宋体" charset="-122"/>
                <a:cs typeface="Arial" pitchFamily="34" charset="0"/>
              </a:rPr>
              <a:t>Copyright©2016 Huawei Technologies Co., Ltd. All Rights Reserved.</a:t>
            </a:r>
            <a:endParaRPr lang="zh-CN" altLang="zh-CN" sz="1000" kern="1200" dirty="0" smtClean="0">
              <a:solidFill>
                <a:srgbClr val="535353"/>
              </a:solidFill>
              <a:effectLst/>
              <a:latin typeface="Arial" pitchFamily="34" charset="0"/>
              <a:ea typeface="宋体" charset="-122"/>
              <a:cs typeface="Arial" pitchFamily="34" charset="0"/>
            </a:endParaRPr>
          </a:p>
          <a:p>
            <a:pPr algn="l">
              <a:lnSpc>
                <a:spcPct val="100000"/>
              </a:lnSpc>
              <a:buNone/>
            </a:pPr>
            <a:r>
              <a:rPr lang="en-US" altLang="zh-CN" sz="1000" kern="1200" dirty="0" smtClean="0">
                <a:solidFill>
                  <a:srgbClr val="535353"/>
                </a:solidFill>
                <a:effectLst/>
                <a:latin typeface="Arial" pitchFamily="34" charset="0"/>
                <a:ea typeface="宋体" charset="-122"/>
                <a:cs typeface="Arial" pitchFamily="34" charset="0"/>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1000" kern="1200" dirty="0">
              <a:solidFill>
                <a:srgbClr val="535353"/>
              </a:solidFill>
              <a:effectLst/>
              <a:latin typeface="Arial" pitchFamily="34" charset="0"/>
              <a:ea typeface="宋体" charset="-122"/>
              <a:cs typeface="Arial" pitchFamily="34" charset="0"/>
            </a:endParaRPr>
          </a:p>
        </p:txBody>
      </p:sp>
    </p:spTree>
    <p:extLst>
      <p:ext uri="{BB962C8B-B14F-4D97-AF65-F5344CB8AC3E}">
        <p14:creationId xmlns:p14="http://schemas.microsoft.com/office/powerpoint/2010/main" xmlns="" val="329144238"/>
      </p:ext>
    </p:extLst>
  </p:cSld>
  <p:clrMap bg1="lt1" tx1="dk1" bg2="lt2" tx2="dk2" accent1="accent1" accent2="accent2" accent3="accent3" accent4="accent4" accent5="accent5" accent6="accent6" hlink="hlink" folHlink="folHlink"/>
  <p:sldLayoutIdLst>
    <p:sldLayoutId id="2147483667" r:id="rId1"/>
  </p:sldLayoutIdLst>
  <p:timing>
    <p:tnLst>
      <p:par>
        <p:cTn id="1" dur="indefinite" restart="never" nodeType="tmRoot"/>
      </p:par>
    </p:tnLst>
  </p:timing>
  <p:txStyles>
    <p:titleStyle>
      <a:lvl1pPr algn="ctr" defTabSz="1023967" rtl="0" eaLnBrk="1" latinLnBrk="0" hangingPunct="1">
        <a:spcBef>
          <a:spcPct val="0"/>
        </a:spcBef>
        <a:buNone/>
        <a:defRPr sz="5000" kern="1200">
          <a:solidFill>
            <a:schemeClr val="tx1"/>
          </a:solidFill>
          <a:latin typeface="+mj-lt"/>
          <a:ea typeface="+mj-ea"/>
          <a:cs typeface="+mj-cs"/>
        </a:defRPr>
      </a:lvl1pPr>
    </p:titleStyle>
    <p:bodyStyle>
      <a:lvl1pPr marL="383987" indent="-383987" algn="l" defTabSz="1023967"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831973" indent="-319990" algn="l" defTabSz="1023967"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79959" indent="-255992" algn="l" defTabSz="1023967"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791942"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4pPr>
      <a:lvl5pPr marL="2303926"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5pPr>
      <a:lvl6pPr marL="2815910"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zh-CN"/>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xml"/><Relationship Id="rId5" Type="http://schemas.microsoft.com/office/2007/relationships/hdphoto" Target="../media/hdphoto1.wdp"/><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18" Type="http://schemas.openxmlformats.org/officeDocument/2006/relationships/image" Target="../media/image20.png"/><Relationship Id="rId26" Type="http://schemas.openxmlformats.org/officeDocument/2006/relationships/image" Target="../media/image27.png"/><Relationship Id="rId39" Type="http://schemas.openxmlformats.org/officeDocument/2006/relationships/image" Target="../media/image39.png"/><Relationship Id="rId3" Type="http://schemas.openxmlformats.org/officeDocument/2006/relationships/slideLayout" Target="../slideLayouts/slideLayout3.xml"/><Relationship Id="rId21" Type="http://schemas.openxmlformats.org/officeDocument/2006/relationships/image" Target="../media/image22.emf"/><Relationship Id="rId34" Type="http://schemas.openxmlformats.org/officeDocument/2006/relationships/image" Target="../media/image35.png"/><Relationship Id="rId7" Type="http://schemas.openxmlformats.org/officeDocument/2006/relationships/image" Target="../media/image9.jpeg"/><Relationship Id="rId12" Type="http://schemas.openxmlformats.org/officeDocument/2006/relationships/image" Target="../media/image14.png"/><Relationship Id="rId17" Type="http://schemas.openxmlformats.org/officeDocument/2006/relationships/image" Target="../media/image19.jpeg"/><Relationship Id="rId25" Type="http://schemas.openxmlformats.org/officeDocument/2006/relationships/image" Target="../media/image26.png"/><Relationship Id="rId33" Type="http://schemas.openxmlformats.org/officeDocument/2006/relationships/image" Target="../media/image34.gif"/><Relationship Id="rId38" Type="http://schemas.microsoft.com/office/2007/relationships/hdphoto" Target="../media/hdphoto3.wdp"/><Relationship Id="rId2" Type="http://schemas.openxmlformats.org/officeDocument/2006/relationships/tags" Target="../tags/tag3.xml"/><Relationship Id="rId16" Type="http://schemas.openxmlformats.org/officeDocument/2006/relationships/image" Target="../media/image18.jpeg"/><Relationship Id="rId20" Type="http://schemas.microsoft.com/office/2007/relationships/hdphoto" Target="../media/hdphoto2.wdp"/><Relationship Id="rId29" Type="http://schemas.openxmlformats.org/officeDocument/2006/relationships/image" Target="../media/image30.png"/><Relationship Id="rId1" Type="http://schemas.openxmlformats.org/officeDocument/2006/relationships/tags" Target="../tags/tag2.xml"/><Relationship Id="rId6" Type="http://schemas.openxmlformats.org/officeDocument/2006/relationships/image" Target="../media/image8.gif"/><Relationship Id="rId11" Type="http://schemas.openxmlformats.org/officeDocument/2006/relationships/image" Target="../media/image13.png"/><Relationship Id="rId24" Type="http://schemas.openxmlformats.org/officeDocument/2006/relationships/image" Target="../media/image25.png"/><Relationship Id="rId32" Type="http://schemas.openxmlformats.org/officeDocument/2006/relationships/image" Target="../media/image33.jpeg"/><Relationship Id="rId37" Type="http://schemas.openxmlformats.org/officeDocument/2006/relationships/image" Target="../media/image38.png"/><Relationship Id="rId5" Type="http://schemas.openxmlformats.org/officeDocument/2006/relationships/image" Target="../media/image7.png"/><Relationship Id="rId15" Type="http://schemas.openxmlformats.org/officeDocument/2006/relationships/image" Target="../media/image17.jpeg"/><Relationship Id="rId23" Type="http://schemas.openxmlformats.org/officeDocument/2006/relationships/image" Target="../media/image24.png"/><Relationship Id="rId28" Type="http://schemas.openxmlformats.org/officeDocument/2006/relationships/image" Target="../media/image29.jpeg"/><Relationship Id="rId36" Type="http://schemas.openxmlformats.org/officeDocument/2006/relationships/image" Target="../media/image37.jpeg"/><Relationship Id="rId10" Type="http://schemas.openxmlformats.org/officeDocument/2006/relationships/image" Target="../media/image12.jpeg"/><Relationship Id="rId19" Type="http://schemas.openxmlformats.org/officeDocument/2006/relationships/image" Target="../media/image21.png"/><Relationship Id="rId31" Type="http://schemas.openxmlformats.org/officeDocument/2006/relationships/image" Target="../media/image32.jpeg"/><Relationship Id="rId4" Type="http://schemas.openxmlformats.org/officeDocument/2006/relationships/notesSlide" Target="../notesSlides/notesSlide2.xml"/><Relationship Id="rId9" Type="http://schemas.openxmlformats.org/officeDocument/2006/relationships/image" Target="../media/image11.png"/><Relationship Id="rId14" Type="http://schemas.openxmlformats.org/officeDocument/2006/relationships/image" Target="../media/image16.jpeg"/><Relationship Id="rId22" Type="http://schemas.openxmlformats.org/officeDocument/2006/relationships/image" Target="../media/image23.png"/><Relationship Id="rId27" Type="http://schemas.openxmlformats.org/officeDocument/2006/relationships/image" Target="../media/image28.png"/><Relationship Id="rId30" Type="http://schemas.openxmlformats.org/officeDocument/2006/relationships/image" Target="../media/image31.png"/><Relationship Id="rId35" Type="http://schemas.openxmlformats.org/officeDocument/2006/relationships/image" Target="../media/image36.png"/></Relationships>
</file>

<file path=ppt/slides/_rels/slide3.xml.rels><?xml version="1.0" encoding="UTF-8" standalone="yes"?>
<Relationships xmlns="http://schemas.openxmlformats.org/package/2006/relationships"><Relationship Id="rId8" Type="http://schemas.openxmlformats.org/officeDocument/2006/relationships/image" Target="../media/image40.jpeg"/><Relationship Id="rId13" Type="http://schemas.openxmlformats.org/officeDocument/2006/relationships/image" Target="../media/image45.jpeg"/><Relationship Id="rId18" Type="http://schemas.openxmlformats.org/officeDocument/2006/relationships/image" Target="../media/image50.png"/><Relationship Id="rId3" Type="http://schemas.openxmlformats.org/officeDocument/2006/relationships/slideLayout" Target="../slideLayouts/slideLayout3.xml"/><Relationship Id="rId21" Type="http://schemas.openxmlformats.org/officeDocument/2006/relationships/image" Target="../media/image53.png"/><Relationship Id="rId7" Type="http://schemas.microsoft.com/office/2007/relationships/hdphoto" Target="../media/hdphoto3.wdp"/><Relationship Id="rId12" Type="http://schemas.openxmlformats.org/officeDocument/2006/relationships/image" Target="../media/image44.jpeg"/><Relationship Id="rId17" Type="http://schemas.openxmlformats.org/officeDocument/2006/relationships/image" Target="../media/image49.png"/><Relationship Id="rId25" Type="http://schemas.openxmlformats.org/officeDocument/2006/relationships/image" Target="../media/image57.png"/><Relationship Id="rId2" Type="http://schemas.openxmlformats.org/officeDocument/2006/relationships/tags" Target="../tags/tag5.xml"/><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tags" Target="../tags/tag4.xml"/><Relationship Id="rId6" Type="http://schemas.openxmlformats.org/officeDocument/2006/relationships/image" Target="../media/image38.png"/><Relationship Id="rId11" Type="http://schemas.openxmlformats.org/officeDocument/2006/relationships/image" Target="../media/image43.jpeg"/><Relationship Id="rId24" Type="http://schemas.openxmlformats.org/officeDocument/2006/relationships/image" Target="../media/image56.jpeg"/><Relationship Id="rId5" Type="http://schemas.openxmlformats.org/officeDocument/2006/relationships/image" Target="../media/image34.gif"/><Relationship Id="rId15" Type="http://schemas.openxmlformats.org/officeDocument/2006/relationships/image" Target="../media/image47.png"/><Relationship Id="rId23" Type="http://schemas.openxmlformats.org/officeDocument/2006/relationships/image" Target="../media/image55.png"/><Relationship Id="rId10" Type="http://schemas.openxmlformats.org/officeDocument/2006/relationships/image" Target="../media/image42.png"/><Relationship Id="rId19" Type="http://schemas.openxmlformats.org/officeDocument/2006/relationships/image" Target="../media/image51.jpeg"/><Relationship Id="rId4" Type="http://schemas.openxmlformats.org/officeDocument/2006/relationships/notesSlide" Target="../notesSlides/notesSlide3.xml"/><Relationship Id="rId9" Type="http://schemas.openxmlformats.org/officeDocument/2006/relationships/image" Target="../media/image41.jpeg"/><Relationship Id="rId14" Type="http://schemas.openxmlformats.org/officeDocument/2006/relationships/image" Target="../media/image46.png"/><Relationship Id="rId22" Type="http://schemas.openxmlformats.org/officeDocument/2006/relationships/image" Target="../media/image54.jpeg"/></Relationships>
</file>

<file path=ppt/slides/_rels/slide4.xml.rels><?xml version="1.0" encoding="UTF-8" standalone="yes"?>
<Relationships xmlns="http://schemas.openxmlformats.org/package/2006/relationships"><Relationship Id="rId8" Type="http://schemas.openxmlformats.org/officeDocument/2006/relationships/image" Target="../media/image34.gif"/><Relationship Id="rId13" Type="http://schemas.microsoft.com/office/2007/relationships/hdphoto" Target="../media/hdphoto2.wdp"/><Relationship Id="rId18" Type="http://schemas.openxmlformats.org/officeDocument/2006/relationships/image" Target="../media/image64.png"/><Relationship Id="rId26" Type="http://schemas.openxmlformats.org/officeDocument/2006/relationships/image" Target="../media/image72.jpeg"/><Relationship Id="rId3" Type="http://schemas.openxmlformats.org/officeDocument/2006/relationships/tags" Target="../tags/tag8.xml"/><Relationship Id="rId21" Type="http://schemas.openxmlformats.org/officeDocument/2006/relationships/image" Target="../media/image67.png"/><Relationship Id="rId7" Type="http://schemas.openxmlformats.org/officeDocument/2006/relationships/image" Target="../media/image59.jpeg"/><Relationship Id="rId12" Type="http://schemas.openxmlformats.org/officeDocument/2006/relationships/image" Target="../media/image27.png"/><Relationship Id="rId17" Type="http://schemas.openxmlformats.org/officeDocument/2006/relationships/image" Target="../media/image63.jpeg"/><Relationship Id="rId25" Type="http://schemas.openxmlformats.org/officeDocument/2006/relationships/image" Target="../media/image71.png"/><Relationship Id="rId2" Type="http://schemas.openxmlformats.org/officeDocument/2006/relationships/tags" Target="../tags/tag7.xml"/><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image" Target="../media/image75.jpeg"/><Relationship Id="rId1" Type="http://schemas.openxmlformats.org/officeDocument/2006/relationships/tags" Target="../tags/tag6.xml"/><Relationship Id="rId6" Type="http://schemas.openxmlformats.org/officeDocument/2006/relationships/image" Target="../media/image58.png"/><Relationship Id="rId11" Type="http://schemas.openxmlformats.org/officeDocument/2006/relationships/image" Target="../media/image26.png"/><Relationship Id="rId24" Type="http://schemas.openxmlformats.org/officeDocument/2006/relationships/image" Target="../media/image70.png"/><Relationship Id="rId5" Type="http://schemas.openxmlformats.org/officeDocument/2006/relationships/notesSlide" Target="../notesSlides/notesSlide4.xml"/><Relationship Id="rId15" Type="http://schemas.microsoft.com/office/2007/relationships/hdphoto" Target="../media/hdphoto3.wdp"/><Relationship Id="rId23" Type="http://schemas.openxmlformats.org/officeDocument/2006/relationships/image" Target="../media/image69.png"/><Relationship Id="rId28" Type="http://schemas.openxmlformats.org/officeDocument/2006/relationships/image" Target="../media/image74.jpeg"/><Relationship Id="rId10" Type="http://schemas.openxmlformats.org/officeDocument/2006/relationships/image" Target="../media/image61.png"/><Relationship Id="rId19" Type="http://schemas.openxmlformats.org/officeDocument/2006/relationships/image" Target="../media/image65.png"/><Relationship Id="rId31" Type="http://schemas.openxmlformats.org/officeDocument/2006/relationships/image" Target="../media/image77.png"/><Relationship Id="rId4" Type="http://schemas.openxmlformats.org/officeDocument/2006/relationships/slideLayout" Target="../slideLayouts/slideLayout3.xml"/><Relationship Id="rId9" Type="http://schemas.openxmlformats.org/officeDocument/2006/relationships/image" Target="../media/image60.jpeg"/><Relationship Id="rId14" Type="http://schemas.openxmlformats.org/officeDocument/2006/relationships/image" Target="../media/image38.png"/><Relationship Id="rId22" Type="http://schemas.openxmlformats.org/officeDocument/2006/relationships/image" Target="../media/image68.png"/><Relationship Id="rId27" Type="http://schemas.openxmlformats.org/officeDocument/2006/relationships/image" Target="../media/image73.png"/><Relationship Id="rId30" Type="http://schemas.openxmlformats.org/officeDocument/2006/relationships/image" Target="../media/image7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1882435592"/>
          <p:cNvSpPr>
            <a:spLocks noGrp="1"/>
          </p:cNvSpPr>
          <p:nvPr>
            <p:ph type="subTitle" idx="1"/>
          </p:nvPr>
        </p:nvSpPr>
        <p:spPr>
          <a:xfrm>
            <a:off x="235248" y="29379"/>
            <a:ext cx="5113288" cy="538429"/>
          </a:xfrm>
        </p:spPr>
        <p:txBody>
          <a:bodyPr>
            <a:noAutofit/>
          </a:bodyPr>
          <a:lstStyle/>
          <a:p>
            <a:r>
              <a:rPr lang="en-US" altLang="zh-CN" sz="2000" b="1" dirty="0" smtClean="0">
                <a:latin typeface="Arial" panose="020B0604020202020204" pitchFamily="34" charset="0"/>
              </a:rPr>
              <a:t>Quick Reference Guide to eLTE Smart City Solution</a:t>
            </a:r>
            <a:endParaRPr lang="zh-CN" altLang="en-US" sz="2000" b="1" dirty="0">
              <a:latin typeface="Arial" panose="020B0604020202020204" pitchFamily="34" charset="0"/>
            </a:endParaRPr>
          </a:p>
        </p:txBody>
      </p:sp>
      <p:sp>
        <p:nvSpPr>
          <p:cNvPr id="2" name="701078828"/>
          <p:cNvSpPr txBox="1"/>
          <p:nvPr/>
        </p:nvSpPr>
        <p:spPr>
          <a:xfrm>
            <a:off x="0" y="761902"/>
            <a:ext cx="6857999" cy="646331"/>
          </a:xfrm>
          <a:prstGeom prst="rect">
            <a:avLst/>
          </a:prstGeom>
          <a:solidFill>
            <a:srgbClr val="2DA159"/>
          </a:solidFill>
        </p:spPr>
        <p:txBody>
          <a:bodyPr wrap="square" rtlCol="0">
            <a:spAutoFit/>
          </a:bodyPr>
          <a:lstStyle/>
          <a:p>
            <a:r>
              <a:rPr lang="en-US" altLang="zh-CN" sz="1800" b="1" dirty="0" smtClean="0">
                <a:solidFill>
                  <a:schemeClr val="bg1"/>
                </a:solidFill>
                <a:latin typeface="Arial" panose="020B0604020202020204" pitchFamily="34" charset="0"/>
                <a:ea typeface="+mj-ea"/>
              </a:rPr>
              <a:t>Governance, public utilities, and industrial economies provide best opportunities for the Smart City solution.</a:t>
            </a:r>
            <a:endParaRPr lang="zh-CN" altLang="en-US" sz="1800" b="1" dirty="0">
              <a:solidFill>
                <a:schemeClr val="bg1"/>
              </a:solidFill>
              <a:latin typeface="Arial" panose="020B0604020202020204" pitchFamily="34" charset="0"/>
              <a:ea typeface="+mj-ea"/>
            </a:endParaRPr>
          </a:p>
        </p:txBody>
      </p:sp>
      <p:sp>
        <p:nvSpPr>
          <p:cNvPr id="57" name="83052670"/>
          <p:cNvSpPr txBox="1"/>
          <p:nvPr/>
        </p:nvSpPr>
        <p:spPr>
          <a:xfrm>
            <a:off x="-27384" y="4317876"/>
            <a:ext cx="6885384" cy="369332"/>
          </a:xfrm>
          <a:prstGeom prst="rect">
            <a:avLst/>
          </a:prstGeom>
          <a:solidFill>
            <a:srgbClr val="2DA159"/>
          </a:solidFill>
        </p:spPr>
        <p:txBody>
          <a:bodyPr wrap="square" rtlCol="0">
            <a:spAutoFit/>
          </a:bodyPr>
          <a:lstStyle>
            <a:defPPr>
              <a:defRPr lang="zh-CN"/>
            </a:defPPr>
            <a:lvl1pPr>
              <a:defRPr b="1">
                <a:solidFill>
                  <a:schemeClr val="bg1"/>
                </a:solidFill>
                <a:latin typeface="+mj-ea"/>
                <a:ea typeface="+mj-ea"/>
              </a:defRPr>
            </a:lvl1pPr>
          </a:lstStyle>
          <a:p>
            <a:r>
              <a:rPr lang="en-US" altLang="zh-CN" sz="1800" dirty="0" smtClean="0">
                <a:latin typeface="Arial" panose="020B0604020202020204" pitchFamily="34" charset="0"/>
              </a:rPr>
              <a:t>Wireless and IoT technologies make smart cities a reality.</a:t>
            </a:r>
            <a:endParaRPr lang="zh-CN" altLang="en-US" sz="1800" dirty="0">
              <a:latin typeface="Arial" panose="020B0604020202020204" pitchFamily="34" charset="0"/>
            </a:endParaRPr>
          </a:p>
        </p:txBody>
      </p:sp>
      <p:sp>
        <p:nvSpPr>
          <p:cNvPr id="61" name="1606331036"/>
          <p:cNvSpPr/>
          <p:nvPr/>
        </p:nvSpPr>
        <p:spPr>
          <a:xfrm>
            <a:off x="620688" y="1528500"/>
            <a:ext cx="1877197" cy="523220"/>
          </a:xfrm>
          <a:prstGeom prst="rect">
            <a:avLst/>
          </a:prstGeom>
        </p:spPr>
        <p:txBody>
          <a:bodyPr wrap="square">
            <a:spAutoFit/>
          </a:bodyPr>
          <a:lstStyle/>
          <a:p>
            <a:pPr algn="ctr"/>
            <a:r>
              <a:rPr lang="en-US" altLang="zh-CN" sz="1400" b="1" dirty="0" smtClean="0">
                <a:latin typeface="Arial" panose="020B0604020202020204" pitchFamily="34" charset="0"/>
              </a:rPr>
              <a:t>Challenges for fast-growing cities</a:t>
            </a:r>
            <a:endParaRPr lang="zh-CN" altLang="en-US" sz="1400" b="1" dirty="0">
              <a:latin typeface="Arial" panose="020B0604020202020204" pitchFamily="34" charset="0"/>
            </a:endParaRPr>
          </a:p>
        </p:txBody>
      </p:sp>
      <p:sp>
        <p:nvSpPr>
          <p:cNvPr id="62" name="右箭头 61"/>
          <p:cNvSpPr/>
          <p:nvPr/>
        </p:nvSpPr>
        <p:spPr bwMode="auto">
          <a:xfrm>
            <a:off x="2763412" y="2540268"/>
            <a:ext cx="545919" cy="786815"/>
          </a:xfrm>
          <a:prstGeom prst="rightArrow">
            <a:avLst/>
          </a:prstGeom>
          <a:solidFill>
            <a:sysClr val="window" lastClr="FFFFFF">
              <a:lumMod val="50000"/>
            </a:sysClr>
          </a:solidFill>
          <a:ln w="9525">
            <a:noFill/>
            <a:miter lim="800000"/>
            <a:headEnd/>
            <a:tailEnd/>
          </a:ln>
          <a:effectLst>
            <a:outerShdw blurRad="63500" dist="38100" dir="2700000" algn="tl" rotWithShape="0">
              <a:srgbClr val="000000">
                <a:alpha val="39998"/>
              </a:srgbClr>
            </a:outerShdw>
          </a:effectLst>
        </p:spPr>
        <p:txBody>
          <a:bodyPr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panose="020B0604020202020204" pitchFamily="34" charset="0"/>
              <a:ea typeface="ＭＳ Ｐゴシック" pitchFamily="-97" charset="-128"/>
            </a:endParaRPr>
          </a:p>
        </p:txBody>
      </p:sp>
      <p:sp>
        <p:nvSpPr>
          <p:cNvPr id="68" name="642354465"/>
          <p:cNvSpPr txBox="1"/>
          <p:nvPr/>
        </p:nvSpPr>
        <p:spPr bwMode="auto">
          <a:xfrm>
            <a:off x="4615664" y="3951964"/>
            <a:ext cx="933967" cy="288000"/>
          </a:xfrm>
          <a:prstGeom prst="rect">
            <a:avLst/>
          </a:prstGeom>
          <a:solidFill>
            <a:srgbClr val="00B050">
              <a:alpha val="80000"/>
            </a:srgbClr>
          </a:solidFill>
          <a:ln w="9525" cap="flat" cmpd="sng" algn="ctr">
            <a:noFill/>
            <a:prstDash val="solid"/>
            <a:round/>
            <a:headEnd type="none" w="med" len="med"/>
            <a:tailEnd type="none" w="med" len="med"/>
          </a:ln>
          <a:effectLst>
            <a:outerShdw blurRad="76200" dist="63500" dir="8100000" algn="tr" rotWithShape="0">
              <a:prstClr val="black">
                <a:alpha val="40000"/>
              </a:prstClr>
            </a:outerShdw>
          </a:effectLst>
          <a:scene3d>
            <a:camera prst="orthographicFront"/>
            <a:lightRig rig="flat" dir="t"/>
          </a:scene3d>
        </p:spPr>
        <p:txBody>
          <a:bodyPr/>
          <a:lstStyle/>
          <a:p>
            <a:pPr algn="ctr">
              <a:defRPr/>
            </a:pPr>
            <a:r>
              <a:rPr lang="en-US" altLang="zh-CN" sz="1400" b="1" dirty="0" smtClean="0">
                <a:solidFill>
                  <a:schemeClr val="bg1"/>
                </a:solidFill>
                <a:latin typeface="Arial" panose="020B0604020202020204" pitchFamily="34" charset="0"/>
              </a:rPr>
              <a:t>Greener</a:t>
            </a:r>
            <a:endParaRPr lang="en-US" altLang="zh-CN" sz="1400" b="1" dirty="0">
              <a:solidFill>
                <a:schemeClr val="bg1"/>
              </a:solidFill>
              <a:latin typeface="Arial" panose="020B0604020202020204" pitchFamily="34" charset="0"/>
            </a:endParaRPr>
          </a:p>
        </p:txBody>
      </p:sp>
      <p:sp>
        <p:nvSpPr>
          <p:cNvPr id="70" name="1936861003"/>
          <p:cNvSpPr txBox="1"/>
          <p:nvPr/>
        </p:nvSpPr>
        <p:spPr bwMode="auto">
          <a:xfrm>
            <a:off x="5604949" y="3951964"/>
            <a:ext cx="888432" cy="288000"/>
          </a:xfrm>
          <a:prstGeom prst="rect">
            <a:avLst/>
          </a:prstGeom>
          <a:solidFill>
            <a:srgbClr val="00B050">
              <a:alpha val="80000"/>
            </a:srgbClr>
          </a:solidFill>
          <a:ln w="9525" cap="flat" cmpd="sng" algn="ctr">
            <a:noFill/>
            <a:prstDash val="solid"/>
            <a:round/>
            <a:headEnd type="none" w="med" len="med"/>
            <a:tailEnd type="none" w="med" len="med"/>
          </a:ln>
          <a:effectLst>
            <a:outerShdw blurRad="76200" dist="63500" dir="8100000" algn="tr" rotWithShape="0">
              <a:prstClr val="black">
                <a:alpha val="40000"/>
              </a:prstClr>
            </a:outerShdw>
          </a:effectLst>
          <a:scene3d>
            <a:camera prst="orthographicFront"/>
            <a:lightRig rig="flat" dir="t"/>
          </a:scene3d>
        </p:spPr>
        <p:txBody>
          <a:bodyPr/>
          <a:lstStyle/>
          <a:p>
            <a:pPr marR="0" lvl="0" indent="0" algn="ctr" fontAlgn="auto">
              <a:lnSpc>
                <a:spcPct val="100000"/>
              </a:lnSpc>
              <a:spcBef>
                <a:spcPts val="0"/>
              </a:spcBef>
              <a:spcAft>
                <a:spcPts val="0"/>
              </a:spcAft>
              <a:buClrTx/>
              <a:buSzTx/>
              <a:buFontTx/>
              <a:buNone/>
              <a:tabLst/>
              <a:defRPr/>
            </a:pPr>
            <a:r>
              <a:rPr lang="en-US" altLang="zh-CN" sz="1400" b="1" dirty="0" smtClean="0">
                <a:solidFill>
                  <a:schemeClr val="bg1"/>
                </a:solidFill>
                <a:latin typeface="Arial" panose="020B0604020202020204" pitchFamily="34" charset="0"/>
              </a:rPr>
              <a:t>Efficient</a:t>
            </a:r>
            <a:endParaRPr lang="en-US" altLang="zh-CN" sz="1400" b="1" dirty="0">
              <a:solidFill>
                <a:schemeClr val="bg1"/>
              </a:solidFill>
              <a:latin typeface="Arial" panose="020B0604020202020204" pitchFamily="34" charset="0"/>
            </a:endParaRPr>
          </a:p>
        </p:txBody>
      </p:sp>
      <p:sp>
        <p:nvSpPr>
          <p:cNvPr id="76" name="1932029396"/>
          <p:cNvSpPr/>
          <p:nvPr/>
        </p:nvSpPr>
        <p:spPr>
          <a:xfrm>
            <a:off x="3284984" y="1528500"/>
            <a:ext cx="3147897" cy="523220"/>
          </a:xfrm>
          <a:prstGeom prst="rect">
            <a:avLst/>
          </a:prstGeom>
        </p:spPr>
        <p:txBody>
          <a:bodyPr wrap="square">
            <a:spAutoFit/>
          </a:bodyPr>
          <a:lstStyle/>
          <a:p>
            <a:pPr algn="ctr"/>
            <a:r>
              <a:rPr lang="en-US" altLang="zh-CN" sz="1400" b="1" dirty="0" smtClean="0">
                <a:latin typeface="Arial" panose="020B0604020202020204" pitchFamily="34" charset="0"/>
              </a:rPr>
              <a:t>eLTE Smart City Solution, creating new city development mode</a:t>
            </a:r>
            <a:endParaRPr lang="zh-CN" altLang="en-US" sz="1400" b="1" dirty="0">
              <a:latin typeface="Arial" panose="020B0604020202020204" pitchFamily="34" charset="0"/>
            </a:endParaRPr>
          </a:p>
        </p:txBody>
      </p:sp>
      <p:grpSp>
        <p:nvGrpSpPr>
          <p:cNvPr id="3" name="2128211173"/>
          <p:cNvGrpSpPr/>
          <p:nvPr/>
        </p:nvGrpSpPr>
        <p:grpSpPr>
          <a:xfrm>
            <a:off x="3610349" y="2140490"/>
            <a:ext cx="2941500" cy="1725762"/>
            <a:chOff x="3602920" y="1995489"/>
            <a:chExt cx="2586663" cy="1339860"/>
          </a:xfrm>
        </p:grpSpPr>
        <p:sp>
          <p:nvSpPr>
            <p:cNvPr id="77" name="Freeform 6"/>
            <p:cNvSpPr>
              <a:spLocks noEditPoints="1"/>
            </p:cNvSpPr>
            <p:nvPr/>
          </p:nvSpPr>
          <p:spPr bwMode="auto">
            <a:xfrm>
              <a:off x="3705240" y="2439352"/>
              <a:ext cx="943377" cy="856816"/>
            </a:xfrm>
            <a:custGeom>
              <a:avLst/>
              <a:gdLst/>
              <a:ahLst/>
              <a:cxnLst>
                <a:cxn ang="0">
                  <a:pos x="554" y="0"/>
                </a:cxn>
                <a:cxn ang="0">
                  <a:pos x="595" y="0"/>
                </a:cxn>
                <a:cxn ang="0">
                  <a:pos x="618" y="110"/>
                </a:cxn>
                <a:cxn ang="0">
                  <a:pos x="720" y="137"/>
                </a:cxn>
                <a:cxn ang="0">
                  <a:pos x="793" y="55"/>
                </a:cxn>
                <a:cxn ang="0">
                  <a:pos x="864" y="96"/>
                </a:cxn>
                <a:cxn ang="0">
                  <a:pos x="830" y="200"/>
                </a:cxn>
                <a:cxn ang="0">
                  <a:pos x="906" y="276"/>
                </a:cxn>
                <a:cxn ang="0">
                  <a:pos x="1008" y="242"/>
                </a:cxn>
                <a:cxn ang="0">
                  <a:pos x="1049" y="314"/>
                </a:cxn>
                <a:cxn ang="0">
                  <a:pos x="969" y="386"/>
                </a:cxn>
                <a:cxn ang="0">
                  <a:pos x="998" y="491"/>
                </a:cxn>
                <a:cxn ang="0">
                  <a:pos x="1101" y="513"/>
                </a:cxn>
                <a:cxn ang="0">
                  <a:pos x="1101" y="595"/>
                </a:cxn>
                <a:cxn ang="0">
                  <a:pos x="997" y="617"/>
                </a:cxn>
                <a:cxn ang="0">
                  <a:pos x="968" y="724"/>
                </a:cxn>
                <a:cxn ang="0">
                  <a:pos x="1046" y="793"/>
                </a:cxn>
                <a:cxn ang="0">
                  <a:pos x="1005" y="865"/>
                </a:cxn>
                <a:cxn ang="0">
                  <a:pos x="904" y="832"/>
                </a:cxn>
                <a:cxn ang="0">
                  <a:pos x="826" y="909"/>
                </a:cxn>
                <a:cxn ang="0">
                  <a:pos x="858" y="1009"/>
                </a:cxn>
                <a:cxn ang="0">
                  <a:pos x="787" y="1050"/>
                </a:cxn>
                <a:cxn ang="0">
                  <a:pos x="716" y="971"/>
                </a:cxn>
                <a:cxn ang="0">
                  <a:pos x="610" y="998"/>
                </a:cxn>
                <a:cxn ang="0">
                  <a:pos x="588" y="1101"/>
                </a:cxn>
                <a:cxn ang="0">
                  <a:pos x="554" y="1101"/>
                </a:cxn>
                <a:cxn ang="0">
                  <a:pos x="554" y="927"/>
                </a:cxn>
                <a:cxn ang="0">
                  <a:pos x="927" y="553"/>
                </a:cxn>
                <a:cxn ang="0">
                  <a:pos x="554" y="179"/>
                </a:cxn>
                <a:cxn ang="0">
                  <a:pos x="554" y="0"/>
                </a:cxn>
                <a:cxn ang="0">
                  <a:pos x="512" y="0"/>
                </a:cxn>
                <a:cxn ang="0">
                  <a:pos x="554" y="0"/>
                </a:cxn>
                <a:cxn ang="0">
                  <a:pos x="554" y="179"/>
                </a:cxn>
                <a:cxn ang="0">
                  <a:pos x="180" y="553"/>
                </a:cxn>
                <a:cxn ang="0">
                  <a:pos x="554" y="927"/>
                </a:cxn>
                <a:cxn ang="0">
                  <a:pos x="554" y="1101"/>
                </a:cxn>
                <a:cxn ang="0">
                  <a:pos x="505" y="1101"/>
                </a:cxn>
                <a:cxn ang="0">
                  <a:pos x="484" y="996"/>
                </a:cxn>
                <a:cxn ang="0">
                  <a:pos x="379" y="966"/>
                </a:cxn>
                <a:cxn ang="0">
                  <a:pos x="308" y="1047"/>
                </a:cxn>
                <a:cxn ang="0">
                  <a:pos x="236" y="1005"/>
                </a:cxn>
                <a:cxn ang="0">
                  <a:pos x="271" y="900"/>
                </a:cxn>
                <a:cxn ang="0">
                  <a:pos x="197" y="824"/>
                </a:cxn>
                <a:cxn ang="0">
                  <a:pos x="92" y="858"/>
                </a:cxn>
                <a:cxn ang="0">
                  <a:pos x="51" y="787"/>
                </a:cxn>
                <a:cxn ang="0">
                  <a:pos x="135" y="712"/>
                </a:cxn>
                <a:cxn ang="0">
                  <a:pos x="109" y="611"/>
                </a:cxn>
                <a:cxn ang="0">
                  <a:pos x="0" y="588"/>
                </a:cxn>
                <a:cxn ang="0">
                  <a:pos x="0" y="506"/>
                </a:cxn>
                <a:cxn ang="0">
                  <a:pos x="111" y="483"/>
                </a:cxn>
                <a:cxn ang="0">
                  <a:pos x="139" y="383"/>
                </a:cxn>
                <a:cxn ang="0">
                  <a:pos x="55" y="308"/>
                </a:cxn>
                <a:cxn ang="0">
                  <a:pos x="96" y="236"/>
                </a:cxn>
                <a:cxn ang="0">
                  <a:pos x="205" y="272"/>
                </a:cxn>
                <a:cxn ang="0">
                  <a:pos x="278" y="200"/>
                </a:cxn>
                <a:cxn ang="0">
                  <a:pos x="242" y="93"/>
                </a:cxn>
                <a:cxn ang="0">
                  <a:pos x="314" y="52"/>
                </a:cxn>
                <a:cxn ang="0">
                  <a:pos x="390" y="136"/>
                </a:cxn>
                <a:cxn ang="0">
                  <a:pos x="490" y="110"/>
                </a:cxn>
                <a:cxn ang="0">
                  <a:pos x="512" y="0"/>
                </a:cxn>
              </a:cxnLst>
              <a:rect l="0" t="0" r="r" b="b"/>
              <a:pathLst>
                <a:path w="1101" h="1101">
                  <a:moveTo>
                    <a:pt x="554" y="0"/>
                  </a:moveTo>
                  <a:cubicBezTo>
                    <a:pt x="595" y="0"/>
                    <a:pt x="595" y="0"/>
                    <a:pt x="595" y="0"/>
                  </a:cubicBezTo>
                  <a:cubicBezTo>
                    <a:pt x="618" y="110"/>
                    <a:pt x="618" y="110"/>
                    <a:pt x="618" y="110"/>
                  </a:cubicBezTo>
                  <a:cubicBezTo>
                    <a:pt x="653" y="115"/>
                    <a:pt x="687" y="124"/>
                    <a:pt x="720" y="137"/>
                  </a:cubicBezTo>
                  <a:cubicBezTo>
                    <a:pt x="793" y="55"/>
                    <a:pt x="793" y="55"/>
                    <a:pt x="793" y="55"/>
                  </a:cubicBezTo>
                  <a:cubicBezTo>
                    <a:pt x="864" y="96"/>
                    <a:pt x="864" y="96"/>
                    <a:pt x="864" y="96"/>
                  </a:cubicBezTo>
                  <a:cubicBezTo>
                    <a:pt x="830" y="200"/>
                    <a:pt x="830" y="200"/>
                    <a:pt x="830" y="200"/>
                  </a:cubicBezTo>
                  <a:cubicBezTo>
                    <a:pt x="858" y="223"/>
                    <a:pt x="884" y="248"/>
                    <a:pt x="906" y="276"/>
                  </a:cubicBezTo>
                  <a:cubicBezTo>
                    <a:pt x="1008" y="242"/>
                    <a:pt x="1008" y="242"/>
                    <a:pt x="1008" y="242"/>
                  </a:cubicBezTo>
                  <a:cubicBezTo>
                    <a:pt x="1049" y="314"/>
                    <a:pt x="1049" y="314"/>
                    <a:pt x="1049" y="314"/>
                  </a:cubicBezTo>
                  <a:cubicBezTo>
                    <a:pt x="969" y="386"/>
                    <a:pt x="969" y="386"/>
                    <a:pt x="969" y="386"/>
                  </a:cubicBezTo>
                  <a:cubicBezTo>
                    <a:pt x="983" y="419"/>
                    <a:pt x="993" y="454"/>
                    <a:pt x="998" y="491"/>
                  </a:cubicBezTo>
                  <a:cubicBezTo>
                    <a:pt x="1101" y="513"/>
                    <a:pt x="1101" y="513"/>
                    <a:pt x="1101" y="513"/>
                  </a:cubicBezTo>
                  <a:cubicBezTo>
                    <a:pt x="1101" y="595"/>
                    <a:pt x="1101" y="595"/>
                    <a:pt x="1101" y="595"/>
                  </a:cubicBezTo>
                  <a:cubicBezTo>
                    <a:pt x="997" y="617"/>
                    <a:pt x="997" y="617"/>
                    <a:pt x="997" y="617"/>
                  </a:cubicBezTo>
                  <a:cubicBezTo>
                    <a:pt x="992" y="654"/>
                    <a:pt x="982" y="690"/>
                    <a:pt x="968" y="724"/>
                  </a:cubicBezTo>
                  <a:cubicBezTo>
                    <a:pt x="1046" y="793"/>
                    <a:pt x="1046" y="793"/>
                    <a:pt x="1046" y="793"/>
                  </a:cubicBezTo>
                  <a:cubicBezTo>
                    <a:pt x="1005" y="865"/>
                    <a:pt x="1005" y="865"/>
                    <a:pt x="1005" y="865"/>
                  </a:cubicBezTo>
                  <a:cubicBezTo>
                    <a:pt x="904" y="832"/>
                    <a:pt x="904" y="832"/>
                    <a:pt x="904" y="832"/>
                  </a:cubicBezTo>
                  <a:cubicBezTo>
                    <a:pt x="881" y="861"/>
                    <a:pt x="855" y="887"/>
                    <a:pt x="826" y="909"/>
                  </a:cubicBezTo>
                  <a:cubicBezTo>
                    <a:pt x="858" y="1009"/>
                    <a:pt x="858" y="1009"/>
                    <a:pt x="858" y="1009"/>
                  </a:cubicBezTo>
                  <a:cubicBezTo>
                    <a:pt x="787" y="1050"/>
                    <a:pt x="787" y="1050"/>
                    <a:pt x="787" y="1050"/>
                  </a:cubicBezTo>
                  <a:cubicBezTo>
                    <a:pt x="716" y="971"/>
                    <a:pt x="716" y="971"/>
                    <a:pt x="716" y="971"/>
                  </a:cubicBezTo>
                  <a:cubicBezTo>
                    <a:pt x="682" y="984"/>
                    <a:pt x="646" y="993"/>
                    <a:pt x="610" y="998"/>
                  </a:cubicBezTo>
                  <a:cubicBezTo>
                    <a:pt x="588" y="1101"/>
                    <a:pt x="588" y="1101"/>
                    <a:pt x="588" y="1101"/>
                  </a:cubicBezTo>
                  <a:cubicBezTo>
                    <a:pt x="554" y="1101"/>
                    <a:pt x="554" y="1101"/>
                    <a:pt x="554" y="1101"/>
                  </a:cubicBezTo>
                  <a:cubicBezTo>
                    <a:pt x="554" y="927"/>
                    <a:pt x="554" y="927"/>
                    <a:pt x="554" y="927"/>
                  </a:cubicBezTo>
                  <a:cubicBezTo>
                    <a:pt x="760" y="927"/>
                    <a:pt x="927" y="759"/>
                    <a:pt x="927" y="553"/>
                  </a:cubicBezTo>
                  <a:cubicBezTo>
                    <a:pt x="927" y="347"/>
                    <a:pt x="760" y="179"/>
                    <a:pt x="554" y="179"/>
                  </a:cubicBezTo>
                  <a:lnTo>
                    <a:pt x="554" y="0"/>
                  </a:lnTo>
                  <a:close/>
                  <a:moveTo>
                    <a:pt x="512" y="0"/>
                  </a:moveTo>
                  <a:cubicBezTo>
                    <a:pt x="554" y="0"/>
                    <a:pt x="554" y="0"/>
                    <a:pt x="554" y="0"/>
                  </a:cubicBezTo>
                  <a:cubicBezTo>
                    <a:pt x="554" y="179"/>
                    <a:pt x="554" y="179"/>
                    <a:pt x="554" y="179"/>
                  </a:cubicBezTo>
                  <a:cubicBezTo>
                    <a:pt x="348" y="179"/>
                    <a:pt x="180" y="347"/>
                    <a:pt x="180" y="553"/>
                  </a:cubicBezTo>
                  <a:cubicBezTo>
                    <a:pt x="180" y="759"/>
                    <a:pt x="348" y="927"/>
                    <a:pt x="554" y="927"/>
                  </a:cubicBezTo>
                  <a:cubicBezTo>
                    <a:pt x="554" y="1101"/>
                    <a:pt x="554" y="1101"/>
                    <a:pt x="554" y="1101"/>
                  </a:cubicBezTo>
                  <a:cubicBezTo>
                    <a:pt x="505" y="1101"/>
                    <a:pt x="505" y="1101"/>
                    <a:pt x="505" y="1101"/>
                  </a:cubicBezTo>
                  <a:cubicBezTo>
                    <a:pt x="484" y="996"/>
                    <a:pt x="484" y="996"/>
                    <a:pt x="484" y="996"/>
                  </a:cubicBezTo>
                  <a:cubicBezTo>
                    <a:pt x="447" y="990"/>
                    <a:pt x="412" y="980"/>
                    <a:pt x="379" y="966"/>
                  </a:cubicBezTo>
                  <a:cubicBezTo>
                    <a:pt x="308" y="1047"/>
                    <a:pt x="308" y="1047"/>
                    <a:pt x="308" y="1047"/>
                  </a:cubicBezTo>
                  <a:cubicBezTo>
                    <a:pt x="236" y="1005"/>
                    <a:pt x="236" y="1005"/>
                    <a:pt x="236" y="1005"/>
                  </a:cubicBezTo>
                  <a:cubicBezTo>
                    <a:pt x="271" y="900"/>
                    <a:pt x="271" y="900"/>
                    <a:pt x="271" y="900"/>
                  </a:cubicBezTo>
                  <a:cubicBezTo>
                    <a:pt x="243" y="878"/>
                    <a:pt x="219" y="852"/>
                    <a:pt x="197" y="824"/>
                  </a:cubicBezTo>
                  <a:cubicBezTo>
                    <a:pt x="92" y="858"/>
                    <a:pt x="92" y="858"/>
                    <a:pt x="92" y="858"/>
                  </a:cubicBezTo>
                  <a:cubicBezTo>
                    <a:pt x="51" y="787"/>
                    <a:pt x="51" y="787"/>
                    <a:pt x="51" y="787"/>
                  </a:cubicBezTo>
                  <a:cubicBezTo>
                    <a:pt x="135" y="712"/>
                    <a:pt x="135" y="712"/>
                    <a:pt x="135" y="712"/>
                  </a:cubicBezTo>
                  <a:cubicBezTo>
                    <a:pt x="123" y="680"/>
                    <a:pt x="114" y="646"/>
                    <a:pt x="109" y="611"/>
                  </a:cubicBezTo>
                  <a:cubicBezTo>
                    <a:pt x="0" y="588"/>
                    <a:pt x="0" y="588"/>
                    <a:pt x="0" y="588"/>
                  </a:cubicBezTo>
                  <a:cubicBezTo>
                    <a:pt x="0" y="506"/>
                    <a:pt x="0" y="506"/>
                    <a:pt x="0" y="506"/>
                  </a:cubicBezTo>
                  <a:cubicBezTo>
                    <a:pt x="111" y="483"/>
                    <a:pt x="111" y="483"/>
                    <a:pt x="111" y="483"/>
                  </a:cubicBezTo>
                  <a:cubicBezTo>
                    <a:pt x="116" y="448"/>
                    <a:pt x="126" y="415"/>
                    <a:pt x="139" y="383"/>
                  </a:cubicBezTo>
                  <a:cubicBezTo>
                    <a:pt x="55" y="308"/>
                    <a:pt x="55" y="308"/>
                    <a:pt x="55" y="308"/>
                  </a:cubicBezTo>
                  <a:cubicBezTo>
                    <a:pt x="96" y="236"/>
                    <a:pt x="96" y="236"/>
                    <a:pt x="96" y="236"/>
                  </a:cubicBezTo>
                  <a:cubicBezTo>
                    <a:pt x="205" y="272"/>
                    <a:pt x="205" y="272"/>
                    <a:pt x="205" y="272"/>
                  </a:cubicBezTo>
                  <a:cubicBezTo>
                    <a:pt x="226" y="246"/>
                    <a:pt x="251" y="221"/>
                    <a:pt x="278" y="200"/>
                  </a:cubicBezTo>
                  <a:cubicBezTo>
                    <a:pt x="242" y="93"/>
                    <a:pt x="242" y="93"/>
                    <a:pt x="242" y="93"/>
                  </a:cubicBezTo>
                  <a:cubicBezTo>
                    <a:pt x="314" y="52"/>
                    <a:pt x="314" y="52"/>
                    <a:pt x="314" y="52"/>
                  </a:cubicBezTo>
                  <a:cubicBezTo>
                    <a:pt x="390" y="136"/>
                    <a:pt x="390" y="136"/>
                    <a:pt x="390" y="136"/>
                  </a:cubicBezTo>
                  <a:cubicBezTo>
                    <a:pt x="421" y="124"/>
                    <a:pt x="455" y="115"/>
                    <a:pt x="490" y="110"/>
                  </a:cubicBezTo>
                  <a:lnTo>
                    <a:pt x="512" y="0"/>
                  </a:lnTo>
                  <a:close/>
                </a:path>
              </a:pathLst>
            </a:custGeom>
            <a:gradFill flip="none" rotWithShape="1">
              <a:gsLst>
                <a:gs pos="67000">
                  <a:srgbClr val="517D21"/>
                </a:gs>
                <a:gs pos="12000">
                  <a:srgbClr val="74B230"/>
                </a:gs>
                <a:gs pos="100000">
                  <a:srgbClr val="293F11">
                    <a:alpha val="89000"/>
                  </a:srgbClr>
                </a:gs>
              </a:gsLst>
              <a:lin ang="5400000" scaled="0"/>
              <a:tileRect/>
            </a:gradFill>
            <a:ln w="12700">
              <a:solidFill>
                <a:srgbClr val="82C836"/>
              </a:solidFill>
            </a:ln>
            <a:effectLst>
              <a:outerShdw blurRad="50800" dist="38100" dir="2700000" algn="tl" rotWithShape="0">
                <a:prstClr val="black">
                  <a:alpha val="40000"/>
                </a:prstClr>
              </a:outerShdw>
            </a:effectLst>
          </p:spPr>
          <p:txBody>
            <a:bodyPr vert="horz" wrap="square" lIns="115214" tIns="57607" rIns="115214" bIns="57607" anchor="ctr">
              <a:noAutofit/>
            </a:bodyPr>
            <a:lstStyle/>
            <a:p>
              <a:pPr algn="ctr" defTabSz="2560411"/>
              <a:endParaRPr lang="zh-CN" altLang="en-US" sz="1400" b="1">
                <a:solidFill>
                  <a:schemeClr val="bg1"/>
                </a:solidFill>
                <a:effectLst>
                  <a:outerShdw blurRad="38100" dist="38100" dir="2700000" algn="tl">
                    <a:srgbClr val="000000">
                      <a:alpha val="43137"/>
                    </a:srgbClr>
                  </a:outerShdw>
                </a:effectLst>
                <a:latin typeface="Arial" panose="020B0604020202020204" pitchFamily="34" charset="0"/>
                <a:ea typeface="微软雅黑" pitchFamily="34" charset="-122"/>
                <a:cs typeface="Arial" pitchFamily="34" charset="0"/>
              </a:endParaRPr>
            </a:p>
          </p:txBody>
        </p:sp>
        <p:sp>
          <p:nvSpPr>
            <p:cNvPr id="78" name="Freeform 6"/>
            <p:cNvSpPr>
              <a:spLocks noEditPoints="1"/>
            </p:cNvSpPr>
            <p:nvPr/>
          </p:nvSpPr>
          <p:spPr bwMode="auto">
            <a:xfrm>
              <a:off x="4417294" y="1995489"/>
              <a:ext cx="943377" cy="847885"/>
            </a:xfrm>
            <a:custGeom>
              <a:avLst/>
              <a:gdLst/>
              <a:ahLst/>
              <a:cxnLst>
                <a:cxn ang="0">
                  <a:pos x="554" y="0"/>
                </a:cxn>
                <a:cxn ang="0">
                  <a:pos x="595" y="0"/>
                </a:cxn>
                <a:cxn ang="0">
                  <a:pos x="618" y="110"/>
                </a:cxn>
                <a:cxn ang="0">
                  <a:pos x="720" y="137"/>
                </a:cxn>
                <a:cxn ang="0">
                  <a:pos x="793" y="55"/>
                </a:cxn>
                <a:cxn ang="0">
                  <a:pos x="864" y="96"/>
                </a:cxn>
                <a:cxn ang="0">
                  <a:pos x="830" y="200"/>
                </a:cxn>
                <a:cxn ang="0">
                  <a:pos x="906" y="276"/>
                </a:cxn>
                <a:cxn ang="0">
                  <a:pos x="1008" y="242"/>
                </a:cxn>
                <a:cxn ang="0">
                  <a:pos x="1049" y="314"/>
                </a:cxn>
                <a:cxn ang="0">
                  <a:pos x="969" y="386"/>
                </a:cxn>
                <a:cxn ang="0">
                  <a:pos x="998" y="491"/>
                </a:cxn>
                <a:cxn ang="0">
                  <a:pos x="1101" y="513"/>
                </a:cxn>
                <a:cxn ang="0">
                  <a:pos x="1101" y="595"/>
                </a:cxn>
                <a:cxn ang="0">
                  <a:pos x="997" y="617"/>
                </a:cxn>
                <a:cxn ang="0">
                  <a:pos x="968" y="724"/>
                </a:cxn>
                <a:cxn ang="0">
                  <a:pos x="1046" y="793"/>
                </a:cxn>
                <a:cxn ang="0">
                  <a:pos x="1005" y="865"/>
                </a:cxn>
                <a:cxn ang="0">
                  <a:pos x="904" y="832"/>
                </a:cxn>
                <a:cxn ang="0">
                  <a:pos x="826" y="909"/>
                </a:cxn>
                <a:cxn ang="0">
                  <a:pos x="858" y="1009"/>
                </a:cxn>
                <a:cxn ang="0">
                  <a:pos x="787" y="1050"/>
                </a:cxn>
                <a:cxn ang="0">
                  <a:pos x="716" y="971"/>
                </a:cxn>
                <a:cxn ang="0">
                  <a:pos x="610" y="998"/>
                </a:cxn>
                <a:cxn ang="0">
                  <a:pos x="588" y="1101"/>
                </a:cxn>
                <a:cxn ang="0">
                  <a:pos x="554" y="1101"/>
                </a:cxn>
                <a:cxn ang="0">
                  <a:pos x="554" y="927"/>
                </a:cxn>
                <a:cxn ang="0">
                  <a:pos x="927" y="553"/>
                </a:cxn>
                <a:cxn ang="0">
                  <a:pos x="554" y="179"/>
                </a:cxn>
                <a:cxn ang="0">
                  <a:pos x="554" y="0"/>
                </a:cxn>
                <a:cxn ang="0">
                  <a:pos x="512" y="0"/>
                </a:cxn>
                <a:cxn ang="0">
                  <a:pos x="554" y="0"/>
                </a:cxn>
                <a:cxn ang="0">
                  <a:pos x="554" y="179"/>
                </a:cxn>
                <a:cxn ang="0">
                  <a:pos x="180" y="553"/>
                </a:cxn>
                <a:cxn ang="0">
                  <a:pos x="554" y="927"/>
                </a:cxn>
                <a:cxn ang="0">
                  <a:pos x="554" y="1101"/>
                </a:cxn>
                <a:cxn ang="0">
                  <a:pos x="505" y="1101"/>
                </a:cxn>
                <a:cxn ang="0">
                  <a:pos x="484" y="996"/>
                </a:cxn>
                <a:cxn ang="0">
                  <a:pos x="379" y="966"/>
                </a:cxn>
                <a:cxn ang="0">
                  <a:pos x="308" y="1047"/>
                </a:cxn>
                <a:cxn ang="0">
                  <a:pos x="236" y="1005"/>
                </a:cxn>
                <a:cxn ang="0">
                  <a:pos x="271" y="900"/>
                </a:cxn>
                <a:cxn ang="0">
                  <a:pos x="197" y="824"/>
                </a:cxn>
                <a:cxn ang="0">
                  <a:pos x="92" y="858"/>
                </a:cxn>
                <a:cxn ang="0">
                  <a:pos x="51" y="787"/>
                </a:cxn>
                <a:cxn ang="0">
                  <a:pos x="135" y="712"/>
                </a:cxn>
                <a:cxn ang="0">
                  <a:pos x="109" y="611"/>
                </a:cxn>
                <a:cxn ang="0">
                  <a:pos x="0" y="588"/>
                </a:cxn>
                <a:cxn ang="0">
                  <a:pos x="0" y="506"/>
                </a:cxn>
                <a:cxn ang="0">
                  <a:pos x="111" y="483"/>
                </a:cxn>
                <a:cxn ang="0">
                  <a:pos x="139" y="383"/>
                </a:cxn>
                <a:cxn ang="0">
                  <a:pos x="55" y="308"/>
                </a:cxn>
                <a:cxn ang="0">
                  <a:pos x="96" y="236"/>
                </a:cxn>
                <a:cxn ang="0">
                  <a:pos x="205" y="272"/>
                </a:cxn>
                <a:cxn ang="0">
                  <a:pos x="278" y="200"/>
                </a:cxn>
                <a:cxn ang="0">
                  <a:pos x="242" y="93"/>
                </a:cxn>
                <a:cxn ang="0">
                  <a:pos x="314" y="52"/>
                </a:cxn>
                <a:cxn ang="0">
                  <a:pos x="390" y="136"/>
                </a:cxn>
                <a:cxn ang="0">
                  <a:pos x="490" y="110"/>
                </a:cxn>
                <a:cxn ang="0">
                  <a:pos x="512" y="0"/>
                </a:cxn>
              </a:cxnLst>
              <a:rect l="0" t="0" r="r" b="b"/>
              <a:pathLst>
                <a:path w="1101" h="1101">
                  <a:moveTo>
                    <a:pt x="554" y="0"/>
                  </a:moveTo>
                  <a:cubicBezTo>
                    <a:pt x="595" y="0"/>
                    <a:pt x="595" y="0"/>
                    <a:pt x="595" y="0"/>
                  </a:cubicBezTo>
                  <a:cubicBezTo>
                    <a:pt x="618" y="110"/>
                    <a:pt x="618" y="110"/>
                    <a:pt x="618" y="110"/>
                  </a:cubicBezTo>
                  <a:cubicBezTo>
                    <a:pt x="653" y="115"/>
                    <a:pt x="687" y="124"/>
                    <a:pt x="720" y="137"/>
                  </a:cubicBezTo>
                  <a:cubicBezTo>
                    <a:pt x="793" y="55"/>
                    <a:pt x="793" y="55"/>
                    <a:pt x="793" y="55"/>
                  </a:cubicBezTo>
                  <a:cubicBezTo>
                    <a:pt x="864" y="96"/>
                    <a:pt x="864" y="96"/>
                    <a:pt x="864" y="96"/>
                  </a:cubicBezTo>
                  <a:cubicBezTo>
                    <a:pt x="830" y="200"/>
                    <a:pt x="830" y="200"/>
                    <a:pt x="830" y="200"/>
                  </a:cubicBezTo>
                  <a:cubicBezTo>
                    <a:pt x="858" y="223"/>
                    <a:pt x="884" y="248"/>
                    <a:pt x="906" y="276"/>
                  </a:cubicBezTo>
                  <a:cubicBezTo>
                    <a:pt x="1008" y="242"/>
                    <a:pt x="1008" y="242"/>
                    <a:pt x="1008" y="242"/>
                  </a:cubicBezTo>
                  <a:cubicBezTo>
                    <a:pt x="1049" y="314"/>
                    <a:pt x="1049" y="314"/>
                    <a:pt x="1049" y="314"/>
                  </a:cubicBezTo>
                  <a:cubicBezTo>
                    <a:pt x="969" y="386"/>
                    <a:pt x="969" y="386"/>
                    <a:pt x="969" y="386"/>
                  </a:cubicBezTo>
                  <a:cubicBezTo>
                    <a:pt x="983" y="419"/>
                    <a:pt x="993" y="454"/>
                    <a:pt x="998" y="491"/>
                  </a:cubicBezTo>
                  <a:cubicBezTo>
                    <a:pt x="1101" y="513"/>
                    <a:pt x="1101" y="513"/>
                    <a:pt x="1101" y="513"/>
                  </a:cubicBezTo>
                  <a:cubicBezTo>
                    <a:pt x="1101" y="595"/>
                    <a:pt x="1101" y="595"/>
                    <a:pt x="1101" y="595"/>
                  </a:cubicBezTo>
                  <a:cubicBezTo>
                    <a:pt x="997" y="617"/>
                    <a:pt x="997" y="617"/>
                    <a:pt x="997" y="617"/>
                  </a:cubicBezTo>
                  <a:cubicBezTo>
                    <a:pt x="992" y="654"/>
                    <a:pt x="982" y="690"/>
                    <a:pt x="968" y="724"/>
                  </a:cubicBezTo>
                  <a:cubicBezTo>
                    <a:pt x="1046" y="793"/>
                    <a:pt x="1046" y="793"/>
                    <a:pt x="1046" y="793"/>
                  </a:cubicBezTo>
                  <a:cubicBezTo>
                    <a:pt x="1005" y="865"/>
                    <a:pt x="1005" y="865"/>
                    <a:pt x="1005" y="865"/>
                  </a:cubicBezTo>
                  <a:cubicBezTo>
                    <a:pt x="904" y="832"/>
                    <a:pt x="904" y="832"/>
                    <a:pt x="904" y="832"/>
                  </a:cubicBezTo>
                  <a:cubicBezTo>
                    <a:pt x="881" y="861"/>
                    <a:pt x="855" y="887"/>
                    <a:pt x="826" y="909"/>
                  </a:cubicBezTo>
                  <a:cubicBezTo>
                    <a:pt x="858" y="1009"/>
                    <a:pt x="858" y="1009"/>
                    <a:pt x="858" y="1009"/>
                  </a:cubicBezTo>
                  <a:cubicBezTo>
                    <a:pt x="787" y="1050"/>
                    <a:pt x="787" y="1050"/>
                    <a:pt x="787" y="1050"/>
                  </a:cubicBezTo>
                  <a:cubicBezTo>
                    <a:pt x="716" y="971"/>
                    <a:pt x="716" y="971"/>
                    <a:pt x="716" y="971"/>
                  </a:cubicBezTo>
                  <a:cubicBezTo>
                    <a:pt x="682" y="984"/>
                    <a:pt x="646" y="993"/>
                    <a:pt x="610" y="998"/>
                  </a:cubicBezTo>
                  <a:cubicBezTo>
                    <a:pt x="588" y="1101"/>
                    <a:pt x="588" y="1101"/>
                    <a:pt x="588" y="1101"/>
                  </a:cubicBezTo>
                  <a:cubicBezTo>
                    <a:pt x="554" y="1101"/>
                    <a:pt x="554" y="1101"/>
                    <a:pt x="554" y="1101"/>
                  </a:cubicBezTo>
                  <a:cubicBezTo>
                    <a:pt x="554" y="927"/>
                    <a:pt x="554" y="927"/>
                    <a:pt x="554" y="927"/>
                  </a:cubicBezTo>
                  <a:cubicBezTo>
                    <a:pt x="760" y="927"/>
                    <a:pt x="927" y="759"/>
                    <a:pt x="927" y="553"/>
                  </a:cubicBezTo>
                  <a:cubicBezTo>
                    <a:pt x="927" y="347"/>
                    <a:pt x="760" y="179"/>
                    <a:pt x="554" y="179"/>
                  </a:cubicBezTo>
                  <a:lnTo>
                    <a:pt x="554" y="0"/>
                  </a:lnTo>
                  <a:close/>
                  <a:moveTo>
                    <a:pt x="512" y="0"/>
                  </a:moveTo>
                  <a:cubicBezTo>
                    <a:pt x="554" y="0"/>
                    <a:pt x="554" y="0"/>
                    <a:pt x="554" y="0"/>
                  </a:cubicBezTo>
                  <a:cubicBezTo>
                    <a:pt x="554" y="179"/>
                    <a:pt x="554" y="179"/>
                    <a:pt x="554" y="179"/>
                  </a:cubicBezTo>
                  <a:cubicBezTo>
                    <a:pt x="348" y="179"/>
                    <a:pt x="180" y="347"/>
                    <a:pt x="180" y="553"/>
                  </a:cubicBezTo>
                  <a:cubicBezTo>
                    <a:pt x="180" y="759"/>
                    <a:pt x="348" y="927"/>
                    <a:pt x="554" y="927"/>
                  </a:cubicBezTo>
                  <a:cubicBezTo>
                    <a:pt x="554" y="1101"/>
                    <a:pt x="554" y="1101"/>
                    <a:pt x="554" y="1101"/>
                  </a:cubicBezTo>
                  <a:cubicBezTo>
                    <a:pt x="505" y="1101"/>
                    <a:pt x="505" y="1101"/>
                    <a:pt x="505" y="1101"/>
                  </a:cubicBezTo>
                  <a:cubicBezTo>
                    <a:pt x="484" y="996"/>
                    <a:pt x="484" y="996"/>
                    <a:pt x="484" y="996"/>
                  </a:cubicBezTo>
                  <a:cubicBezTo>
                    <a:pt x="447" y="990"/>
                    <a:pt x="412" y="980"/>
                    <a:pt x="379" y="966"/>
                  </a:cubicBezTo>
                  <a:cubicBezTo>
                    <a:pt x="308" y="1047"/>
                    <a:pt x="308" y="1047"/>
                    <a:pt x="308" y="1047"/>
                  </a:cubicBezTo>
                  <a:cubicBezTo>
                    <a:pt x="236" y="1005"/>
                    <a:pt x="236" y="1005"/>
                    <a:pt x="236" y="1005"/>
                  </a:cubicBezTo>
                  <a:cubicBezTo>
                    <a:pt x="271" y="900"/>
                    <a:pt x="271" y="900"/>
                    <a:pt x="271" y="900"/>
                  </a:cubicBezTo>
                  <a:cubicBezTo>
                    <a:pt x="243" y="878"/>
                    <a:pt x="219" y="852"/>
                    <a:pt x="197" y="824"/>
                  </a:cubicBezTo>
                  <a:cubicBezTo>
                    <a:pt x="92" y="858"/>
                    <a:pt x="92" y="858"/>
                    <a:pt x="92" y="858"/>
                  </a:cubicBezTo>
                  <a:cubicBezTo>
                    <a:pt x="51" y="787"/>
                    <a:pt x="51" y="787"/>
                    <a:pt x="51" y="787"/>
                  </a:cubicBezTo>
                  <a:cubicBezTo>
                    <a:pt x="135" y="712"/>
                    <a:pt x="135" y="712"/>
                    <a:pt x="135" y="712"/>
                  </a:cubicBezTo>
                  <a:cubicBezTo>
                    <a:pt x="123" y="680"/>
                    <a:pt x="114" y="646"/>
                    <a:pt x="109" y="611"/>
                  </a:cubicBezTo>
                  <a:cubicBezTo>
                    <a:pt x="0" y="588"/>
                    <a:pt x="0" y="588"/>
                    <a:pt x="0" y="588"/>
                  </a:cubicBezTo>
                  <a:cubicBezTo>
                    <a:pt x="0" y="506"/>
                    <a:pt x="0" y="506"/>
                    <a:pt x="0" y="506"/>
                  </a:cubicBezTo>
                  <a:cubicBezTo>
                    <a:pt x="111" y="483"/>
                    <a:pt x="111" y="483"/>
                    <a:pt x="111" y="483"/>
                  </a:cubicBezTo>
                  <a:cubicBezTo>
                    <a:pt x="116" y="448"/>
                    <a:pt x="126" y="415"/>
                    <a:pt x="139" y="383"/>
                  </a:cubicBezTo>
                  <a:cubicBezTo>
                    <a:pt x="55" y="308"/>
                    <a:pt x="55" y="308"/>
                    <a:pt x="55" y="308"/>
                  </a:cubicBezTo>
                  <a:cubicBezTo>
                    <a:pt x="96" y="236"/>
                    <a:pt x="96" y="236"/>
                    <a:pt x="96" y="236"/>
                  </a:cubicBezTo>
                  <a:cubicBezTo>
                    <a:pt x="205" y="272"/>
                    <a:pt x="205" y="272"/>
                    <a:pt x="205" y="272"/>
                  </a:cubicBezTo>
                  <a:cubicBezTo>
                    <a:pt x="226" y="246"/>
                    <a:pt x="251" y="221"/>
                    <a:pt x="278" y="200"/>
                  </a:cubicBezTo>
                  <a:cubicBezTo>
                    <a:pt x="242" y="93"/>
                    <a:pt x="242" y="93"/>
                    <a:pt x="242" y="93"/>
                  </a:cubicBezTo>
                  <a:cubicBezTo>
                    <a:pt x="314" y="52"/>
                    <a:pt x="314" y="52"/>
                    <a:pt x="314" y="52"/>
                  </a:cubicBezTo>
                  <a:cubicBezTo>
                    <a:pt x="390" y="136"/>
                    <a:pt x="390" y="136"/>
                    <a:pt x="390" y="136"/>
                  </a:cubicBezTo>
                  <a:cubicBezTo>
                    <a:pt x="421" y="124"/>
                    <a:pt x="455" y="115"/>
                    <a:pt x="490" y="110"/>
                  </a:cubicBezTo>
                  <a:lnTo>
                    <a:pt x="512" y="0"/>
                  </a:lnTo>
                  <a:close/>
                </a:path>
              </a:pathLst>
            </a:custGeom>
            <a:gradFill flip="none" rotWithShape="1">
              <a:gsLst>
                <a:gs pos="67000">
                  <a:srgbClr val="B45A00"/>
                </a:gs>
                <a:gs pos="12000">
                  <a:srgbClr val="F67B00"/>
                </a:gs>
                <a:gs pos="100000">
                  <a:srgbClr val="824100"/>
                </a:gs>
              </a:gsLst>
              <a:lin ang="5400000" scaled="0"/>
              <a:tileRect/>
            </a:gradFill>
            <a:ln w="12700">
              <a:solidFill>
                <a:srgbClr val="FF8A15"/>
              </a:solidFill>
            </a:ln>
            <a:effectLst>
              <a:outerShdw blurRad="50800" dist="38100" dir="2700000" algn="tl" rotWithShape="0">
                <a:prstClr val="black">
                  <a:alpha val="40000"/>
                </a:prstClr>
              </a:outerShdw>
            </a:effectLst>
          </p:spPr>
          <p:txBody>
            <a:bodyPr vert="horz" wrap="square" lIns="115214" tIns="57607" rIns="115214" bIns="57607" anchor="ctr">
              <a:noAutofit/>
            </a:bodyPr>
            <a:lstStyle/>
            <a:p>
              <a:pPr algn="ctr" defTabSz="2560411"/>
              <a:endParaRPr lang="zh-CN" altLang="en-US" sz="1400" b="1">
                <a:solidFill>
                  <a:schemeClr val="bg1"/>
                </a:solidFill>
                <a:effectLst>
                  <a:outerShdw blurRad="38100" dist="38100" dir="2700000" algn="tl">
                    <a:srgbClr val="000000">
                      <a:alpha val="43137"/>
                    </a:srgbClr>
                  </a:outerShdw>
                </a:effectLst>
                <a:latin typeface="Arial" panose="020B0604020202020204" pitchFamily="34" charset="0"/>
                <a:ea typeface="微软雅黑" pitchFamily="34" charset="-122"/>
                <a:cs typeface="Arial" pitchFamily="34" charset="0"/>
              </a:endParaRPr>
            </a:p>
          </p:txBody>
        </p:sp>
        <p:sp>
          <p:nvSpPr>
            <p:cNvPr id="82" name="Freeform 6"/>
            <p:cNvSpPr>
              <a:spLocks noEditPoints="1"/>
            </p:cNvSpPr>
            <p:nvPr/>
          </p:nvSpPr>
          <p:spPr bwMode="auto">
            <a:xfrm>
              <a:off x="5131427" y="2469390"/>
              <a:ext cx="943377" cy="865959"/>
            </a:xfrm>
            <a:custGeom>
              <a:avLst/>
              <a:gdLst/>
              <a:ahLst/>
              <a:cxnLst>
                <a:cxn ang="0">
                  <a:pos x="554" y="0"/>
                </a:cxn>
                <a:cxn ang="0">
                  <a:pos x="595" y="0"/>
                </a:cxn>
                <a:cxn ang="0">
                  <a:pos x="618" y="110"/>
                </a:cxn>
                <a:cxn ang="0">
                  <a:pos x="720" y="137"/>
                </a:cxn>
                <a:cxn ang="0">
                  <a:pos x="793" y="55"/>
                </a:cxn>
                <a:cxn ang="0">
                  <a:pos x="864" y="96"/>
                </a:cxn>
                <a:cxn ang="0">
                  <a:pos x="830" y="200"/>
                </a:cxn>
                <a:cxn ang="0">
                  <a:pos x="906" y="276"/>
                </a:cxn>
                <a:cxn ang="0">
                  <a:pos x="1008" y="242"/>
                </a:cxn>
                <a:cxn ang="0">
                  <a:pos x="1049" y="314"/>
                </a:cxn>
                <a:cxn ang="0">
                  <a:pos x="969" y="386"/>
                </a:cxn>
                <a:cxn ang="0">
                  <a:pos x="998" y="491"/>
                </a:cxn>
                <a:cxn ang="0">
                  <a:pos x="1101" y="513"/>
                </a:cxn>
                <a:cxn ang="0">
                  <a:pos x="1101" y="595"/>
                </a:cxn>
                <a:cxn ang="0">
                  <a:pos x="997" y="617"/>
                </a:cxn>
                <a:cxn ang="0">
                  <a:pos x="968" y="724"/>
                </a:cxn>
                <a:cxn ang="0">
                  <a:pos x="1046" y="793"/>
                </a:cxn>
                <a:cxn ang="0">
                  <a:pos x="1005" y="865"/>
                </a:cxn>
                <a:cxn ang="0">
                  <a:pos x="904" y="832"/>
                </a:cxn>
                <a:cxn ang="0">
                  <a:pos x="826" y="909"/>
                </a:cxn>
                <a:cxn ang="0">
                  <a:pos x="858" y="1009"/>
                </a:cxn>
                <a:cxn ang="0">
                  <a:pos x="787" y="1050"/>
                </a:cxn>
                <a:cxn ang="0">
                  <a:pos x="716" y="971"/>
                </a:cxn>
                <a:cxn ang="0">
                  <a:pos x="610" y="998"/>
                </a:cxn>
                <a:cxn ang="0">
                  <a:pos x="588" y="1101"/>
                </a:cxn>
                <a:cxn ang="0">
                  <a:pos x="554" y="1101"/>
                </a:cxn>
                <a:cxn ang="0">
                  <a:pos x="554" y="927"/>
                </a:cxn>
                <a:cxn ang="0">
                  <a:pos x="927" y="553"/>
                </a:cxn>
                <a:cxn ang="0">
                  <a:pos x="554" y="179"/>
                </a:cxn>
                <a:cxn ang="0">
                  <a:pos x="554" y="0"/>
                </a:cxn>
                <a:cxn ang="0">
                  <a:pos x="512" y="0"/>
                </a:cxn>
                <a:cxn ang="0">
                  <a:pos x="554" y="0"/>
                </a:cxn>
                <a:cxn ang="0">
                  <a:pos x="554" y="179"/>
                </a:cxn>
                <a:cxn ang="0">
                  <a:pos x="180" y="553"/>
                </a:cxn>
                <a:cxn ang="0">
                  <a:pos x="554" y="927"/>
                </a:cxn>
                <a:cxn ang="0">
                  <a:pos x="554" y="1101"/>
                </a:cxn>
                <a:cxn ang="0">
                  <a:pos x="505" y="1101"/>
                </a:cxn>
                <a:cxn ang="0">
                  <a:pos x="484" y="996"/>
                </a:cxn>
                <a:cxn ang="0">
                  <a:pos x="379" y="966"/>
                </a:cxn>
                <a:cxn ang="0">
                  <a:pos x="308" y="1047"/>
                </a:cxn>
                <a:cxn ang="0">
                  <a:pos x="236" y="1005"/>
                </a:cxn>
                <a:cxn ang="0">
                  <a:pos x="271" y="900"/>
                </a:cxn>
                <a:cxn ang="0">
                  <a:pos x="197" y="824"/>
                </a:cxn>
                <a:cxn ang="0">
                  <a:pos x="92" y="858"/>
                </a:cxn>
                <a:cxn ang="0">
                  <a:pos x="51" y="787"/>
                </a:cxn>
                <a:cxn ang="0">
                  <a:pos x="135" y="712"/>
                </a:cxn>
                <a:cxn ang="0">
                  <a:pos x="109" y="611"/>
                </a:cxn>
                <a:cxn ang="0">
                  <a:pos x="0" y="588"/>
                </a:cxn>
                <a:cxn ang="0">
                  <a:pos x="0" y="506"/>
                </a:cxn>
                <a:cxn ang="0">
                  <a:pos x="111" y="483"/>
                </a:cxn>
                <a:cxn ang="0">
                  <a:pos x="139" y="383"/>
                </a:cxn>
                <a:cxn ang="0">
                  <a:pos x="55" y="308"/>
                </a:cxn>
                <a:cxn ang="0">
                  <a:pos x="96" y="236"/>
                </a:cxn>
                <a:cxn ang="0">
                  <a:pos x="205" y="272"/>
                </a:cxn>
                <a:cxn ang="0">
                  <a:pos x="278" y="200"/>
                </a:cxn>
                <a:cxn ang="0">
                  <a:pos x="242" y="93"/>
                </a:cxn>
                <a:cxn ang="0">
                  <a:pos x="314" y="52"/>
                </a:cxn>
                <a:cxn ang="0">
                  <a:pos x="390" y="136"/>
                </a:cxn>
                <a:cxn ang="0">
                  <a:pos x="490" y="110"/>
                </a:cxn>
                <a:cxn ang="0">
                  <a:pos x="512" y="0"/>
                </a:cxn>
              </a:cxnLst>
              <a:rect l="0" t="0" r="r" b="b"/>
              <a:pathLst>
                <a:path w="1101" h="1101">
                  <a:moveTo>
                    <a:pt x="554" y="0"/>
                  </a:moveTo>
                  <a:cubicBezTo>
                    <a:pt x="595" y="0"/>
                    <a:pt x="595" y="0"/>
                    <a:pt x="595" y="0"/>
                  </a:cubicBezTo>
                  <a:cubicBezTo>
                    <a:pt x="618" y="110"/>
                    <a:pt x="618" y="110"/>
                    <a:pt x="618" y="110"/>
                  </a:cubicBezTo>
                  <a:cubicBezTo>
                    <a:pt x="653" y="115"/>
                    <a:pt x="687" y="124"/>
                    <a:pt x="720" y="137"/>
                  </a:cubicBezTo>
                  <a:cubicBezTo>
                    <a:pt x="793" y="55"/>
                    <a:pt x="793" y="55"/>
                    <a:pt x="793" y="55"/>
                  </a:cubicBezTo>
                  <a:cubicBezTo>
                    <a:pt x="864" y="96"/>
                    <a:pt x="864" y="96"/>
                    <a:pt x="864" y="96"/>
                  </a:cubicBezTo>
                  <a:cubicBezTo>
                    <a:pt x="830" y="200"/>
                    <a:pt x="830" y="200"/>
                    <a:pt x="830" y="200"/>
                  </a:cubicBezTo>
                  <a:cubicBezTo>
                    <a:pt x="858" y="223"/>
                    <a:pt x="884" y="248"/>
                    <a:pt x="906" y="276"/>
                  </a:cubicBezTo>
                  <a:cubicBezTo>
                    <a:pt x="1008" y="242"/>
                    <a:pt x="1008" y="242"/>
                    <a:pt x="1008" y="242"/>
                  </a:cubicBezTo>
                  <a:cubicBezTo>
                    <a:pt x="1049" y="314"/>
                    <a:pt x="1049" y="314"/>
                    <a:pt x="1049" y="314"/>
                  </a:cubicBezTo>
                  <a:cubicBezTo>
                    <a:pt x="969" y="386"/>
                    <a:pt x="969" y="386"/>
                    <a:pt x="969" y="386"/>
                  </a:cubicBezTo>
                  <a:cubicBezTo>
                    <a:pt x="983" y="419"/>
                    <a:pt x="993" y="454"/>
                    <a:pt x="998" y="491"/>
                  </a:cubicBezTo>
                  <a:cubicBezTo>
                    <a:pt x="1101" y="513"/>
                    <a:pt x="1101" y="513"/>
                    <a:pt x="1101" y="513"/>
                  </a:cubicBezTo>
                  <a:cubicBezTo>
                    <a:pt x="1101" y="595"/>
                    <a:pt x="1101" y="595"/>
                    <a:pt x="1101" y="595"/>
                  </a:cubicBezTo>
                  <a:cubicBezTo>
                    <a:pt x="997" y="617"/>
                    <a:pt x="997" y="617"/>
                    <a:pt x="997" y="617"/>
                  </a:cubicBezTo>
                  <a:cubicBezTo>
                    <a:pt x="992" y="654"/>
                    <a:pt x="982" y="690"/>
                    <a:pt x="968" y="724"/>
                  </a:cubicBezTo>
                  <a:cubicBezTo>
                    <a:pt x="1046" y="793"/>
                    <a:pt x="1046" y="793"/>
                    <a:pt x="1046" y="793"/>
                  </a:cubicBezTo>
                  <a:cubicBezTo>
                    <a:pt x="1005" y="865"/>
                    <a:pt x="1005" y="865"/>
                    <a:pt x="1005" y="865"/>
                  </a:cubicBezTo>
                  <a:cubicBezTo>
                    <a:pt x="904" y="832"/>
                    <a:pt x="904" y="832"/>
                    <a:pt x="904" y="832"/>
                  </a:cubicBezTo>
                  <a:cubicBezTo>
                    <a:pt x="881" y="861"/>
                    <a:pt x="855" y="887"/>
                    <a:pt x="826" y="909"/>
                  </a:cubicBezTo>
                  <a:cubicBezTo>
                    <a:pt x="858" y="1009"/>
                    <a:pt x="858" y="1009"/>
                    <a:pt x="858" y="1009"/>
                  </a:cubicBezTo>
                  <a:cubicBezTo>
                    <a:pt x="787" y="1050"/>
                    <a:pt x="787" y="1050"/>
                    <a:pt x="787" y="1050"/>
                  </a:cubicBezTo>
                  <a:cubicBezTo>
                    <a:pt x="716" y="971"/>
                    <a:pt x="716" y="971"/>
                    <a:pt x="716" y="971"/>
                  </a:cubicBezTo>
                  <a:cubicBezTo>
                    <a:pt x="682" y="984"/>
                    <a:pt x="646" y="993"/>
                    <a:pt x="610" y="998"/>
                  </a:cubicBezTo>
                  <a:cubicBezTo>
                    <a:pt x="588" y="1101"/>
                    <a:pt x="588" y="1101"/>
                    <a:pt x="588" y="1101"/>
                  </a:cubicBezTo>
                  <a:cubicBezTo>
                    <a:pt x="554" y="1101"/>
                    <a:pt x="554" y="1101"/>
                    <a:pt x="554" y="1101"/>
                  </a:cubicBezTo>
                  <a:cubicBezTo>
                    <a:pt x="554" y="927"/>
                    <a:pt x="554" y="927"/>
                    <a:pt x="554" y="927"/>
                  </a:cubicBezTo>
                  <a:cubicBezTo>
                    <a:pt x="760" y="927"/>
                    <a:pt x="927" y="759"/>
                    <a:pt x="927" y="553"/>
                  </a:cubicBezTo>
                  <a:cubicBezTo>
                    <a:pt x="927" y="347"/>
                    <a:pt x="760" y="179"/>
                    <a:pt x="554" y="179"/>
                  </a:cubicBezTo>
                  <a:lnTo>
                    <a:pt x="554" y="0"/>
                  </a:lnTo>
                  <a:close/>
                  <a:moveTo>
                    <a:pt x="512" y="0"/>
                  </a:moveTo>
                  <a:cubicBezTo>
                    <a:pt x="554" y="0"/>
                    <a:pt x="554" y="0"/>
                    <a:pt x="554" y="0"/>
                  </a:cubicBezTo>
                  <a:cubicBezTo>
                    <a:pt x="554" y="179"/>
                    <a:pt x="554" y="179"/>
                    <a:pt x="554" y="179"/>
                  </a:cubicBezTo>
                  <a:cubicBezTo>
                    <a:pt x="348" y="179"/>
                    <a:pt x="180" y="347"/>
                    <a:pt x="180" y="553"/>
                  </a:cubicBezTo>
                  <a:cubicBezTo>
                    <a:pt x="180" y="759"/>
                    <a:pt x="348" y="927"/>
                    <a:pt x="554" y="927"/>
                  </a:cubicBezTo>
                  <a:cubicBezTo>
                    <a:pt x="554" y="1101"/>
                    <a:pt x="554" y="1101"/>
                    <a:pt x="554" y="1101"/>
                  </a:cubicBezTo>
                  <a:cubicBezTo>
                    <a:pt x="505" y="1101"/>
                    <a:pt x="505" y="1101"/>
                    <a:pt x="505" y="1101"/>
                  </a:cubicBezTo>
                  <a:cubicBezTo>
                    <a:pt x="484" y="996"/>
                    <a:pt x="484" y="996"/>
                    <a:pt x="484" y="996"/>
                  </a:cubicBezTo>
                  <a:cubicBezTo>
                    <a:pt x="447" y="990"/>
                    <a:pt x="412" y="980"/>
                    <a:pt x="379" y="966"/>
                  </a:cubicBezTo>
                  <a:cubicBezTo>
                    <a:pt x="308" y="1047"/>
                    <a:pt x="308" y="1047"/>
                    <a:pt x="308" y="1047"/>
                  </a:cubicBezTo>
                  <a:cubicBezTo>
                    <a:pt x="236" y="1005"/>
                    <a:pt x="236" y="1005"/>
                    <a:pt x="236" y="1005"/>
                  </a:cubicBezTo>
                  <a:cubicBezTo>
                    <a:pt x="271" y="900"/>
                    <a:pt x="271" y="900"/>
                    <a:pt x="271" y="900"/>
                  </a:cubicBezTo>
                  <a:cubicBezTo>
                    <a:pt x="243" y="878"/>
                    <a:pt x="219" y="852"/>
                    <a:pt x="197" y="824"/>
                  </a:cubicBezTo>
                  <a:cubicBezTo>
                    <a:pt x="92" y="858"/>
                    <a:pt x="92" y="858"/>
                    <a:pt x="92" y="858"/>
                  </a:cubicBezTo>
                  <a:cubicBezTo>
                    <a:pt x="51" y="787"/>
                    <a:pt x="51" y="787"/>
                    <a:pt x="51" y="787"/>
                  </a:cubicBezTo>
                  <a:cubicBezTo>
                    <a:pt x="135" y="712"/>
                    <a:pt x="135" y="712"/>
                    <a:pt x="135" y="712"/>
                  </a:cubicBezTo>
                  <a:cubicBezTo>
                    <a:pt x="123" y="680"/>
                    <a:pt x="114" y="646"/>
                    <a:pt x="109" y="611"/>
                  </a:cubicBezTo>
                  <a:cubicBezTo>
                    <a:pt x="0" y="588"/>
                    <a:pt x="0" y="588"/>
                    <a:pt x="0" y="588"/>
                  </a:cubicBezTo>
                  <a:cubicBezTo>
                    <a:pt x="0" y="506"/>
                    <a:pt x="0" y="506"/>
                    <a:pt x="0" y="506"/>
                  </a:cubicBezTo>
                  <a:cubicBezTo>
                    <a:pt x="111" y="483"/>
                    <a:pt x="111" y="483"/>
                    <a:pt x="111" y="483"/>
                  </a:cubicBezTo>
                  <a:cubicBezTo>
                    <a:pt x="116" y="448"/>
                    <a:pt x="126" y="415"/>
                    <a:pt x="139" y="383"/>
                  </a:cubicBezTo>
                  <a:cubicBezTo>
                    <a:pt x="55" y="308"/>
                    <a:pt x="55" y="308"/>
                    <a:pt x="55" y="308"/>
                  </a:cubicBezTo>
                  <a:cubicBezTo>
                    <a:pt x="96" y="236"/>
                    <a:pt x="96" y="236"/>
                    <a:pt x="96" y="236"/>
                  </a:cubicBezTo>
                  <a:cubicBezTo>
                    <a:pt x="205" y="272"/>
                    <a:pt x="205" y="272"/>
                    <a:pt x="205" y="272"/>
                  </a:cubicBezTo>
                  <a:cubicBezTo>
                    <a:pt x="226" y="246"/>
                    <a:pt x="251" y="221"/>
                    <a:pt x="278" y="200"/>
                  </a:cubicBezTo>
                  <a:cubicBezTo>
                    <a:pt x="242" y="93"/>
                    <a:pt x="242" y="93"/>
                    <a:pt x="242" y="93"/>
                  </a:cubicBezTo>
                  <a:cubicBezTo>
                    <a:pt x="314" y="52"/>
                    <a:pt x="314" y="52"/>
                    <a:pt x="314" y="52"/>
                  </a:cubicBezTo>
                  <a:cubicBezTo>
                    <a:pt x="390" y="136"/>
                    <a:pt x="390" y="136"/>
                    <a:pt x="390" y="136"/>
                  </a:cubicBezTo>
                  <a:cubicBezTo>
                    <a:pt x="421" y="124"/>
                    <a:pt x="455" y="115"/>
                    <a:pt x="490" y="110"/>
                  </a:cubicBezTo>
                  <a:lnTo>
                    <a:pt x="512" y="0"/>
                  </a:lnTo>
                  <a:close/>
                </a:path>
              </a:pathLst>
            </a:custGeom>
            <a:gradFill flip="none" rotWithShape="1">
              <a:gsLst>
                <a:gs pos="67000">
                  <a:srgbClr val="006F96"/>
                </a:gs>
                <a:gs pos="12000">
                  <a:srgbClr val="009ED6"/>
                </a:gs>
                <a:gs pos="100000">
                  <a:srgbClr val="006082"/>
                </a:gs>
              </a:gsLst>
              <a:lin ang="5400000" scaled="0"/>
              <a:tileRect/>
            </a:gradFill>
            <a:ln w="12700">
              <a:solidFill>
                <a:srgbClr val="00B6F6"/>
              </a:solidFill>
            </a:ln>
            <a:effectLst>
              <a:outerShdw blurRad="50800" dist="38100" dir="2700000" algn="tl" rotWithShape="0">
                <a:prstClr val="black">
                  <a:alpha val="40000"/>
                </a:prstClr>
              </a:outerShdw>
            </a:effectLst>
          </p:spPr>
          <p:txBody>
            <a:bodyPr vert="horz" wrap="square" lIns="115214" tIns="57607" rIns="115214" bIns="57607" anchor="ctr">
              <a:noAutofit/>
            </a:bodyPr>
            <a:lstStyle/>
            <a:p>
              <a:pPr algn="ctr" defTabSz="2560411"/>
              <a:endParaRPr lang="zh-CN" altLang="en-US" sz="1400" b="1">
                <a:gradFill>
                  <a:gsLst>
                    <a:gs pos="46000">
                      <a:schemeClr val="tx1"/>
                    </a:gs>
                    <a:gs pos="100000">
                      <a:schemeClr val="tx1">
                        <a:lumMod val="85000"/>
                      </a:schemeClr>
                    </a:gs>
                  </a:gsLst>
                  <a:lin ang="16200000" scaled="0"/>
                </a:gradFill>
                <a:effectLst>
                  <a:outerShdw blurRad="38100" dist="38100" dir="2700000" algn="tl">
                    <a:srgbClr val="000000">
                      <a:alpha val="43137"/>
                    </a:srgbClr>
                  </a:outerShdw>
                </a:effectLst>
                <a:latin typeface="Arial" panose="020B0604020202020204" pitchFamily="34" charset="0"/>
                <a:ea typeface="微软雅黑" pitchFamily="34" charset="-122"/>
                <a:cs typeface="Arial" pitchFamily="34" charset="0"/>
              </a:endParaRPr>
            </a:p>
          </p:txBody>
        </p:sp>
        <p:sp>
          <p:nvSpPr>
            <p:cNvPr id="85" name="矩形 84"/>
            <p:cNvSpPr/>
            <p:nvPr/>
          </p:nvSpPr>
          <p:spPr>
            <a:xfrm>
              <a:off x="3602920" y="2784881"/>
              <a:ext cx="1152128" cy="191163"/>
            </a:xfrm>
            <a:prstGeom prst="rect">
              <a:avLst/>
            </a:prstGeom>
          </p:spPr>
          <p:txBody>
            <a:bodyPr wrap="square">
              <a:spAutoFit/>
            </a:bodyPr>
            <a:lstStyle/>
            <a:p>
              <a:pPr algn="ctr"/>
              <a:r>
                <a:rPr lang="en-US" altLang="zh-CN" sz="1000" b="1" dirty="0" smtClean="0">
                  <a:latin typeface="Arial" panose="020B0604020202020204" pitchFamily="34" charset="0"/>
                  <a:ea typeface="微软雅黑" pitchFamily="34" charset="-122"/>
                </a:rPr>
                <a:t>Governance</a:t>
              </a:r>
              <a:endParaRPr lang="zh-CN" altLang="en-US" sz="1000" b="1" dirty="0" smtClean="0">
                <a:latin typeface="Arial" panose="020B0604020202020204" pitchFamily="34" charset="0"/>
                <a:ea typeface="微软雅黑" pitchFamily="34" charset="-122"/>
              </a:endParaRPr>
            </a:p>
          </p:txBody>
        </p:sp>
        <p:sp>
          <p:nvSpPr>
            <p:cNvPr id="86" name="矩形 85"/>
            <p:cNvSpPr/>
            <p:nvPr/>
          </p:nvSpPr>
          <p:spPr>
            <a:xfrm>
              <a:off x="4452346" y="2290057"/>
              <a:ext cx="901917" cy="310640"/>
            </a:xfrm>
            <a:prstGeom prst="rect">
              <a:avLst/>
            </a:prstGeom>
          </p:spPr>
          <p:txBody>
            <a:bodyPr wrap="square">
              <a:spAutoFit/>
            </a:bodyPr>
            <a:lstStyle/>
            <a:p>
              <a:pPr algn="ctr"/>
              <a:r>
                <a:rPr lang="en-US" altLang="zh-CN" sz="1000" b="1" dirty="0" smtClean="0">
                  <a:latin typeface="Arial" panose="020B0604020202020204" pitchFamily="34" charset="0"/>
                  <a:ea typeface="微软雅黑" pitchFamily="34" charset="-122"/>
                </a:rPr>
                <a:t>Public utilities</a:t>
              </a:r>
              <a:endParaRPr lang="zh-CN" altLang="en-US" sz="1000" b="1" dirty="0" smtClean="0">
                <a:latin typeface="Arial" panose="020B0604020202020204" pitchFamily="34" charset="0"/>
                <a:ea typeface="微软雅黑" pitchFamily="34" charset="-122"/>
              </a:endParaRPr>
            </a:p>
          </p:txBody>
        </p:sp>
        <p:sp>
          <p:nvSpPr>
            <p:cNvPr id="87" name="矩形 86"/>
            <p:cNvSpPr/>
            <p:nvPr/>
          </p:nvSpPr>
          <p:spPr>
            <a:xfrm>
              <a:off x="5037455" y="2766279"/>
              <a:ext cx="1152128" cy="310640"/>
            </a:xfrm>
            <a:prstGeom prst="rect">
              <a:avLst/>
            </a:prstGeom>
          </p:spPr>
          <p:txBody>
            <a:bodyPr wrap="square">
              <a:spAutoFit/>
            </a:bodyPr>
            <a:lstStyle/>
            <a:p>
              <a:pPr algn="ctr"/>
              <a:r>
                <a:rPr lang="en-US" altLang="zh-CN" sz="1000" b="1" dirty="0" smtClean="0">
                  <a:latin typeface="Arial" panose="020B0604020202020204" pitchFamily="34" charset="0"/>
                  <a:ea typeface="微软雅黑" pitchFamily="34" charset="-122"/>
                </a:rPr>
                <a:t>Industrial economies</a:t>
              </a:r>
              <a:endParaRPr lang="zh-CN" altLang="en-US" sz="1000" b="1" dirty="0" smtClean="0">
                <a:latin typeface="Arial" panose="020B0604020202020204" pitchFamily="34" charset="0"/>
                <a:ea typeface="微软雅黑" pitchFamily="34" charset="-122"/>
              </a:endParaRPr>
            </a:p>
          </p:txBody>
        </p:sp>
      </p:grpSp>
      <p:sp>
        <p:nvSpPr>
          <p:cNvPr id="88" name="AutoShape 44"/>
          <p:cNvSpPr>
            <a:spLocks noChangeArrowheads="1"/>
          </p:cNvSpPr>
          <p:nvPr/>
        </p:nvSpPr>
        <p:spPr bwMode="auto">
          <a:xfrm>
            <a:off x="192797" y="6478321"/>
            <a:ext cx="6483457" cy="369653"/>
          </a:xfrm>
          <a:prstGeom prst="round2SameRect">
            <a:avLst>
              <a:gd name="adj1" fmla="val 0"/>
              <a:gd name="adj2" fmla="val 0"/>
            </a:avLst>
          </a:prstGeom>
          <a:solidFill>
            <a:srgbClr val="FFFFFF"/>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ctr" anchorCtr="1"/>
          <a:lstStyle/>
          <a:p>
            <a:pPr marR="0" lvl="0" indent="0" algn="ctr" defTabSz="588012" eaLnBrk="0" fontAlgn="auto" hangingPunct="0">
              <a:lnSpc>
                <a:spcPct val="100000"/>
              </a:lnSpc>
              <a:spcBef>
                <a:spcPts val="0"/>
              </a:spcBef>
              <a:spcAft>
                <a:spcPts val="0"/>
              </a:spcAft>
              <a:buClrTx/>
              <a:buSzPct val="60000"/>
              <a:buFontTx/>
              <a:buNone/>
              <a:tabLst/>
              <a:defRPr/>
            </a:pPr>
            <a:endParaRPr lang="zh-CN" altLang="en-US" sz="1000" b="1" kern="0" spc="300" dirty="0">
              <a:solidFill>
                <a:srgbClr val="000000">
                  <a:lumMod val="65000"/>
                  <a:lumOff val="35000"/>
                </a:srgbClr>
              </a:solidFill>
              <a:latin typeface="Arial" panose="020B0604020202020204" pitchFamily="34" charset="0"/>
              <a:ea typeface="微软雅黑" pitchFamily="34" charset="-122"/>
              <a:cs typeface="Arial" pitchFamily="34" charset="0"/>
            </a:endParaRPr>
          </a:p>
        </p:txBody>
      </p:sp>
      <p:sp>
        <p:nvSpPr>
          <p:cNvPr id="89" name="AutoShape 44"/>
          <p:cNvSpPr>
            <a:spLocks noChangeArrowheads="1"/>
          </p:cNvSpPr>
          <p:nvPr/>
        </p:nvSpPr>
        <p:spPr bwMode="auto">
          <a:xfrm>
            <a:off x="192797" y="6074145"/>
            <a:ext cx="6483457" cy="358474"/>
          </a:xfrm>
          <a:prstGeom prst="round2SameRect">
            <a:avLst>
              <a:gd name="adj1" fmla="val 0"/>
              <a:gd name="adj2" fmla="val 0"/>
            </a:avLst>
          </a:prstGeom>
          <a:solidFill>
            <a:srgbClr val="FFFFFF"/>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ctr" anchorCtr="1"/>
          <a:lstStyle/>
          <a:p>
            <a:pPr algn="ctr" defTabSz="588012" eaLnBrk="0" hangingPunct="0">
              <a:buSzPct val="60000"/>
              <a:defRPr/>
            </a:pPr>
            <a:endParaRPr lang="zh-CN" altLang="en-US" sz="1000" b="1" kern="0" spc="300" dirty="0">
              <a:solidFill>
                <a:srgbClr val="000000">
                  <a:lumMod val="65000"/>
                  <a:lumOff val="35000"/>
                </a:srgbClr>
              </a:solidFill>
              <a:latin typeface="Arial" panose="020B0604020202020204" pitchFamily="34" charset="0"/>
              <a:ea typeface="微软雅黑" pitchFamily="34" charset="-122"/>
              <a:cs typeface="Arial" pitchFamily="34" charset="0"/>
            </a:endParaRPr>
          </a:p>
        </p:txBody>
      </p:sp>
      <p:sp>
        <p:nvSpPr>
          <p:cNvPr id="90" name="AutoShape 44"/>
          <p:cNvSpPr>
            <a:spLocks noChangeArrowheads="1"/>
          </p:cNvSpPr>
          <p:nvPr/>
        </p:nvSpPr>
        <p:spPr bwMode="auto">
          <a:xfrm>
            <a:off x="192794" y="4740451"/>
            <a:ext cx="6483457" cy="625953"/>
          </a:xfrm>
          <a:prstGeom prst="round2SameRect">
            <a:avLst>
              <a:gd name="adj1" fmla="val 0"/>
              <a:gd name="adj2" fmla="val 0"/>
            </a:avLst>
          </a:prstGeom>
          <a:solidFill>
            <a:srgbClr val="FFFFFF"/>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ctr" anchorCtr="1"/>
          <a:lstStyle/>
          <a:p>
            <a:pPr algn="ctr" defTabSz="588012" eaLnBrk="0" hangingPunct="0">
              <a:buSzPct val="60000"/>
              <a:defRPr/>
            </a:pPr>
            <a:endParaRPr lang="en-US" altLang="zh-CN" sz="1000" b="1" kern="0" spc="300" dirty="0">
              <a:solidFill>
                <a:srgbClr val="000000">
                  <a:lumMod val="65000"/>
                  <a:lumOff val="35000"/>
                </a:srgbClr>
              </a:solidFill>
              <a:latin typeface="Arial" panose="020B0604020202020204" pitchFamily="34" charset="0"/>
              <a:ea typeface="微软雅黑" pitchFamily="34" charset="-122"/>
              <a:cs typeface="Arial" pitchFamily="34" charset="0"/>
            </a:endParaRPr>
          </a:p>
        </p:txBody>
      </p:sp>
      <p:sp>
        <p:nvSpPr>
          <p:cNvPr id="91" name="1214045660"/>
          <p:cNvSpPr>
            <a:spLocks noChangeArrowheads="1"/>
          </p:cNvSpPr>
          <p:nvPr/>
        </p:nvSpPr>
        <p:spPr bwMode="auto">
          <a:xfrm>
            <a:off x="979714" y="4918164"/>
            <a:ext cx="605811" cy="411416"/>
          </a:xfrm>
          <a:prstGeom prst="round2SameRect">
            <a:avLst>
              <a:gd name="adj1" fmla="val 0"/>
              <a:gd name="adj2" fmla="val 0"/>
            </a:avLst>
          </a:prstGeom>
          <a:solidFill>
            <a:schemeClr val="accent3">
              <a:lumMod val="7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0" tIns="8423" rIns="0" bIns="8423" anchor="ctr" anchorCtr="1"/>
          <a:lstStyle/>
          <a:p>
            <a:pPr algn="ctr" defTabSz="588012" eaLnBrk="0" hangingPunct="0">
              <a:buSzPct val="60000"/>
              <a:defRPr/>
            </a:pPr>
            <a:r>
              <a:rPr lang="en-US" altLang="zh-CN" sz="800" b="1" kern="0" dirty="0" smtClean="0">
                <a:solidFill>
                  <a:srgbClr val="FFFFFF"/>
                </a:solidFill>
                <a:latin typeface="Arial" panose="020B0604020202020204" pitchFamily="34" charset="0"/>
                <a:ea typeface="微软雅黑" pitchFamily="34" charset="-122"/>
                <a:cs typeface="Arial" pitchFamily="34" charset="0"/>
              </a:rPr>
              <a:t>Safe city</a:t>
            </a:r>
            <a:endParaRPr lang="zh-CN" altLang="en-US" sz="800" b="1" kern="0" dirty="0">
              <a:solidFill>
                <a:srgbClr val="FFFFFF"/>
              </a:solidFill>
              <a:latin typeface="Arial" panose="020B0604020202020204" pitchFamily="34" charset="0"/>
              <a:ea typeface="微软雅黑" pitchFamily="34" charset="-122"/>
              <a:cs typeface="Arial" pitchFamily="34" charset="0"/>
            </a:endParaRPr>
          </a:p>
        </p:txBody>
      </p:sp>
      <p:sp>
        <p:nvSpPr>
          <p:cNvPr id="92" name="2077660985"/>
          <p:cNvSpPr>
            <a:spLocks noChangeArrowheads="1"/>
          </p:cNvSpPr>
          <p:nvPr/>
        </p:nvSpPr>
        <p:spPr bwMode="auto">
          <a:xfrm>
            <a:off x="903984" y="6543659"/>
            <a:ext cx="2752128" cy="249947"/>
          </a:xfrm>
          <a:prstGeom prst="round2SameRect">
            <a:avLst>
              <a:gd name="adj1" fmla="val 0"/>
              <a:gd name="adj2" fmla="val 0"/>
            </a:avLst>
          </a:prstGeom>
          <a:solidFill>
            <a:schemeClr val="accent1">
              <a:lumMod val="60000"/>
              <a:lumOff val="40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0" bIns="8423" anchor="ctr" anchorCtr="1"/>
          <a:lstStyle/>
          <a:p>
            <a:pPr marL="182563" marR="0" lvl="0" algn="ctr" defTabSz="588012" eaLnBrk="0" fontAlgn="auto" latinLnBrk="0" hangingPunct="0">
              <a:lnSpc>
                <a:spcPct val="100000"/>
              </a:lnSpc>
              <a:spcBef>
                <a:spcPts val="0"/>
              </a:spcBef>
              <a:spcAft>
                <a:spcPts val="0"/>
              </a:spcAft>
              <a:buClrTx/>
              <a:buSzPct val="60000"/>
              <a:buFontTx/>
              <a:buNone/>
              <a:tabLst/>
              <a:defRPr/>
            </a:pPr>
            <a:r>
              <a:rPr kumimoji="0" lang="zh-CN" altLang="en-US" sz="1000" b="1" i="0" u="none" strike="noStrike" kern="0" cap="none" spc="0" normalizeH="0" baseline="0" noProof="0" dirty="0">
                <a:ln>
                  <a:noFill/>
                </a:ln>
                <a:solidFill>
                  <a:srgbClr val="FFFFFF"/>
                </a:solidFill>
                <a:effectLst/>
                <a:uLnTx/>
                <a:uFillTx/>
                <a:latin typeface="Arial" panose="020B0604020202020204" pitchFamily="34" charset="0"/>
                <a:ea typeface="微软雅黑" pitchFamily="34" charset="-122"/>
                <a:cs typeface="Arial" pitchFamily="34" charset="0"/>
              </a:rPr>
              <a:t>　　</a:t>
            </a:r>
            <a:r>
              <a:rPr lang="en-US" altLang="zh-CN" sz="1000" b="1" kern="0" dirty="0" smtClean="0">
                <a:solidFill>
                  <a:srgbClr val="FFFFFF"/>
                </a:solidFill>
                <a:latin typeface="Arial" panose="020B0604020202020204" pitchFamily="34" charset="0"/>
                <a:ea typeface="微软雅黑" pitchFamily="34" charset="-122"/>
                <a:cs typeface="Arial" pitchFamily="34" charset="0"/>
              </a:rPr>
              <a:t>Wireless communications network</a:t>
            </a:r>
            <a:endParaRPr kumimoji="0" lang="zh-CN" altLang="en-US" sz="1000" b="1" i="0" u="none" strike="noStrike" kern="0" cap="none" spc="0" normalizeH="0" baseline="0" noProof="0" dirty="0">
              <a:ln>
                <a:noFill/>
              </a:ln>
              <a:solidFill>
                <a:srgbClr val="FFFFFF"/>
              </a:solidFill>
              <a:effectLst/>
              <a:uLnTx/>
              <a:uFillTx/>
              <a:latin typeface="Arial" panose="020B0604020202020204" pitchFamily="34" charset="0"/>
              <a:ea typeface="微软雅黑" pitchFamily="34" charset="-122"/>
              <a:cs typeface="Arial" pitchFamily="34" charset="0"/>
            </a:endParaRPr>
          </a:p>
        </p:txBody>
      </p:sp>
      <p:sp>
        <p:nvSpPr>
          <p:cNvPr id="95" name="1411093455"/>
          <p:cNvSpPr>
            <a:spLocks noChangeArrowheads="1"/>
          </p:cNvSpPr>
          <p:nvPr/>
        </p:nvSpPr>
        <p:spPr bwMode="auto">
          <a:xfrm>
            <a:off x="3700219" y="6546363"/>
            <a:ext cx="2667299" cy="250112"/>
          </a:xfrm>
          <a:prstGeom prst="round2SameRect">
            <a:avLst>
              <a:gd name="adj1" fmla="val 0"/>
              <a:gd name="adj2" fmla="val 0"/>
            </a:avLst>
          </a:prstGeom>
          <a:solidFill>
            <a:schemeClr val="accent1">
              <a:lumMod val="60000"/>
              <a:lumOff val="40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ctr" anchorCtr="1"/>
          <a:lstStyle/>
          <a:p>
            <a:pPr algn="ctr" defTabSz="588012" eaLnBrk="0" hangingPunct="0">
              <a:buSzPct val="60000"/>
            </a:pPr>
            <a:r>
              <a:rPr lang="zh-CN" altLang="en-US" sz="1000" b="1" kern="0" dirty="0">
                <a:solidFill>
                  <a:srgbClr val="FFFFFF"/>
                </a:solidFill>
                <a:latin typeface="Arial" panose="020B0604020202020204" pitchFamily="34" charset="0"/>
                <a:ea typeface="微软雅黑" pitchFamily="34" charset="-122"/>
                <a:cs typeface="Arial" pitchFamily="34" charset="0"/>
              </a:rPr>
              <a:t>　　</a:t>
            </a:r>
            <a:r>
              <a:rPr lang="en-US" altLang="zh-CN" sz="1000" b="1" kern="0" dirty="0" smtClean="0">
                <a:solidFill>
                  <a:srgbClr val="FFFFFF"/>
                </a:solidFill>
                <a:latin typeface="Arial" panose="020B0604020202020204" pitchFamily="34" charset="0"/>
                <a:ea typeface="微软雅黑" pitchFamily="34" charset="-122"/>
                <a:cs typeface="Arial" pitchFamily="34" charset="0"/>
              </a:rPr>
              <a:t>City IoT</a:t>
            </a:r>
            <a:endParaRPr lang="zh-CN" altLang="en-US" sz="1000" b="1" kern="0" dirty="0">
              <a:solidFill>
                <a:srgbClr val="FFFFFF"/>
              </a:solidFill>
              <a:latin typeface="Arial" panose="020B0604020202020204" pitchFamily="34" charset="0"/>
              <a:ea typeface="微软雅黑" pitchFamily="34" charset="-122"/>
              <a:cs typeface="Arial" pitchFamily="34" charset="0"/>
            </a:endParaRPr>
          </a:p>
        </p:txBody>
      </p:sp>
      <p:sp>
        <p:nvSpPr>
          <p:cNvPr id="98" name="232000412"/>
          <p:cNvSpPr>
            <a:spLocks noChangeArrowheads="1"/>
          </p:cNvSpPr>
          <p:nvPr/>
        </p:nvSpPr>
        <p:spPr bwMode="auto">
          <a:xfrm>
            <a:off x="903982" y="6146378"/>
            <a:ext cx="5463534" cy="217174"/>
          </a:xfrm>
          <a:prstGeom prst="round2SameRect">
            <a:avLst>
              <a:gd name="adj1" fmla="val 0"/>
              <a:gd name="adj2" fmla="val 0"/>
            </a:avLst>
          </a:prstGeom>
          <a:solidFill>
            <a:schemeClr val="bg1">
              <a:lumMod val="6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ctr" anchorCtr="1"/>
          <a:lstStyle/>
          <a:p>
            <a:pPr algn="ctr" defTabSz="588012" eaLnBrk="0" hangingPunct="0">
              <a:buSzPct val="60000"/>
              <a:defRPr/>
            </a:pPr>
            <a:r>
              <a:rPr lang="zh-CN" altLang="en-US" sz="1000" b="1" kern="0" dirty="0">
                <a:solidFill>
                  <a:srgbClr val="FFFFFF"/>
                </a:solidFill>
                <a:latin typeface="Arial" panose="020B0604020202020204" pitchFamily="34" charset="0"/>
                <a:ea typeface="微软雅黑" pitchFamily="34" charset="-122"/>
                <a:cs typeface="Arial" pitchFamily="34" charset="0"/>
              </a:rPr>
              <a:t>　　</a:t>
            </a:r>
            <a:r>
              <a:rPr lang="en-US" altLang="zh-CN" sz="1000" b="1" kern="0" dirty="0" smtClean="0">
                <a:solidFill>
                  <a:srgbClr val="FFFFFF"/>
                </a:solidFill>
                <a:latin typeface="Arial" panose="020B0604020202020204" pitchFamily="34" charset="0"/>
                <a:ea typeface="微软雅黑" pitchFamily="34" charset="-122"/>
                <a:cs typeface="Arial" pitchFamily="34" charset="0"/>
              </a:rPr>
              <a:t>Municipal Cloud DC</a:t>
            </a:r>
            <a:endParaRPr lang="zh-CN" altLang="en-US" sz="1000" b="1" kern="0" dirty="0">
              <a:solidFill>
                <a:srgbClr val="FFFFFF"/>
              </a:solidFill>
              <a:latin typeface="Arial" panose="020B0604020202020204" pitchFamily="34" charset="0"/>
              <a:ea typeface="微软雅黑" pitchFamily="34" charset="-122"/>
              <a:cs typeface="Arial" pitchFamily="34" charset="0"/>
            </a:endParaRPr>
          </a:p>
        </p:txBody>
      </p:sp>
      <p:sp>
        <p:nvSpPr>
          <p:cNvPr id="99" name="AutoShape 44"/>
          <p:cNvSpPr>
            <a:spLocks noChangeArrowheads="1"/>
          </p:cNvSpPr>
          <p:nvPr/>
        </p:nvSpPr>
        <p:spPr bwMode="auto">
          <a:xfrm>
            <a:off x="192797" y="5397996"/>
            <a:ext cx="6483457" cy="616008"/>
          </a:xfrm>
          <a:prstGeom prst="round2SameRect">
            <a:avLst>
              <a:gd name="adj1" fmla="val 0"/>
              <a:gd name="adj2" fmla="val 0"/>
            </a:avLst>
          </a:prstGeom>
          <a:solidFill>
            <a:srgbClr val="FFFFFF"/>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ctr" anchorCtr="1"/>
          <a:lstStyle/>
          <a:p>
            <a:pPr marR="0" lvl="0" indent="0" algn="ctr" defTabSz="588012" eaLnBrk="0" fontAlgn="auto" hangingPunct="0">
              <a:lnSpc>
                <a:spcPct val="100000"/>
              </a:lnSpc>
              <a:spcBef>
                <a:spcPts val="0"/>
              </a:spcBef>
              <a:spcAft>
                <a:spcPts val="0"/>
              </a:spcAft>
              <a:buClrTx/>
              <a:buSzPct val="60000"/>
              <a:buFontTx/>
              <a:buNone/>
              <a:tabLst/>
              <a:defRPr/>
            </a:pPr>
            <a:endParaRPr lang="en-US" altLang="zh-CN" sz="1000" b="1" kern="0" spc="300" dirty="0">
              <a:solidFill>
                <a:srgbClr val="000000">
                  <a:lumMod val="65000"/>
                  <a:lumOff val="35000"/>
                </a:srgbClr>
              </a:solidFill>
              <a:latin typeface="Arial" panose="020B0604020202020204" pitchFamily="34" charset="0"/>
              <a:ea typeface="微软雅黑" pitchFamily="34" charset="-122"/>
              <a:cs typeface="Arial" pitchFamily="34" charset="0"/>
            </a:endParaRPr>
          </a:p>
        </p:txBody>
      </p:sp>
      <p:sp>
        <p:nvSpPr>
          <p:cNvPr id="129" name="1221359376"/>
          <p:cNvSpPr>
            <a:spLocks noChangeArrowheads="1"/>
          </p:cNvSpPr>
          <p:nvPr/>
        </p:nvSpPr>
        <p:spPr bwMode="auto">
          <a:xfrm>
            <a:off x="949233" y="5460562"/>
            <a:ext cx="1770621" cy="479181"/>
          </a:xfrm>
          <a:prstGeom prst="round2SameRect">
            <a:avLst>
              <a:gd name="adj1" fmla="val 0"/>
              <a:gd name="adj2" fmla="val 0"/>
            </a:avLst>
          </a:prstGeom>
          <a:solidFill>
            <a:schemeClr val="bg1">
              <a:lumMod val="6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b" anchorCtr="1"/>
          <a:lstStyle/>
          <a:p>
            <a:pPr marL="0" marR="0" lvl="0" indent="0" algn="ctr" defTabSz="588012" eaLnBrk="0" fontAlgn="auto" latinLnBrk="0" hangingPunct="0">
              <a:lnSpc>
                <a:spcPct val="100000"/>
              </a:lnSpc>
              <a:spcBef>
                <a:spcPts val="0"/>
              </a:spcBef>
              <a:spcAft>
                <a:spcPts val="0"/>
              </a:spcAft>
              <a:buClrTx/>
              <a:buSzPct val="60000"/>
              <a:buFontTx/>
              <a:buNone/>
              <a:tabLst/>
              <a:defRPr/>
            </a:pPr>
            <a:r>
              <a:rPr lang="en-US" altLang="zh-CN" sz="1000" b="1" kern="0" dirty="0" smtClean="0">
                <a:solidFill>
                  <a:srgbClr val="FFFFFF"/>
                </a:solidFill>
                <a:latin typeface="Arial" panose="020B0604020202020204" pitchFamily="34" charset="0"/>
                <a:ea typeface="微软雅黑" pitchFamily="34" charset="-122"/>
                <a:cs typeface="Arial" pitchFamily="34" charset="0"/>
              </a:rPr>
              <a:t>Service application enabling platform</a:t>
            </a:r>
            <a:endParaRPr kumimoji="0" lang="zh-CN" altLang="en-US" sz="1000" b="1" i="0" u="none" strike="noStrike" kern="0" cap="none" normalizeH="0" baseline="0" noProof="0" dirty="0">
              <a:ln>
                <a:noFill/>
              </a:ln>
              <a:solidFill>
                <a:srgbClr val="FFFFFF"/>
              </a:solidFill>
              <a:effectLst/>
              <a:uLnTx/>
              <a:uFillTx/>
              <a:latin typeface="Arial" panose="020B0604020202020204" pitchFamily="34" charset="0"/>
              <a:ea typeface="微软雅黑" pitchFamily="34" charset="-122"/>
              <a:cs typeface="Arial" pitchFamily="34" charset="0"/>
            </a:endParaRPr>
          </a:p>
        </p:txBody>
      </p:sp>
      <p:sp>
        <p:nvSpPr>
          <p:cNvPr id="130" name="1195965183"/>
          <p:cNvSpPr>
            <a:spLocks noChangeArrowheads="1"/>
          </p:cNvSpPr>
          <p:nvPr/>
        </p:nvSpPr>
        <p:spPr bwMode="auto">
          <a:xfrm>
            <a:off x="2833905" y="5460338"/>
            <a:ext cx="1692379" cy="477492"/>
          </a:xfrm>
          <a:prstGeom prst="round2SameRect">
            <a:avLst>
              <a:gd name="adj1" fmla="val 0"/>
              <a:gd name="adj2" fmla="val 0"/>
            </a:avLst>
          </a:prstGeom>
          <a:solidFill>
            <a:schemeClr val="bg1">
              <a:lumMod val="6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b" anchorCtr="1"/>
          <a:lstStyle/>
          <a:p>
            <a:pPr algn="ctr" defTabSz="588012" eaLnBrk="0" hangingPunct="0">
              <a:buSzPct val="60000"/>
              <a:defRPr/>
            </a:pPr>
            <a:r>
              <a:rPr lang="en-US" altLang="zh-CN" sz="1000" b="1" kern="0" dirty="0" smtClean="0">
                <a:solidFill>
                  <a:srgbClr val="FFFFFF"/>
                </a:solidFill>
                <a:latin typeface="Arial" panose="020B0604020202020204" pitchFamily="34" charset="0"/>
                <a:ea typeface="微软雅黑" pitchFamily="34" charset="-122"/>
                <a:cs typeface="Arial" pitchFamily="34" charset="0"/>
              </a:rPr>
              <a:t>Big</a:t>
            </a:r>
            <a:r>
              <a:rPr lang="en-US" altLang="zh-CN" sz="1000" b="1" kern="0" spc="300" dirty="0" smtClean="0">
                <a:solidFill>
                  <a:srgbClr val="FFFFFF"/>
                </a:solidFill>
                <a:latin typeface="Arial" panose="020B0604020202020204" pitchFamily="34" charset="0"/>
                <a:ea typeface="微软雅黑" pitchFamily="34" charset="-122"/>
                <a:cs typeface="Arial" pitchFamily="34" charset="0"/>
              </a:rPr>
              <a:t> </a:t>
            </a:r>
            <a:r>
              <a:rPr lang="en-US" altLang="zh-CN" sz="1000" b="1" kern="0" dirty="0" smtClean="0">
                <a:solidFill>
                  <a:srgbClr val="FFFFFF"/>
                </a:solidFill>
                <a:latin typeface="Arial" panose="020B0604020202020204" pitchFamily="34" charset="0"/>
                <a:ea typeface="微软雅黑" pitchFamily="34" charset="-122"/>
                <a:cs typeface="Arial" pitchFamily="34" charset="0"/>
              </a:rPr>
              <a:t>data</a:t>
            </a:r>
            <a:r>
              <a:rPr lang="en-US" altLang="zh-CN" sz="1000" b="1" kern="0" spc="300" dirty="0" smtClean="0">
                <a:solidFill>
                  <a:srgbClr val="FFFFFF"/>
                </a:solidFill>
                <a:latin typeface="Arial" panose="020B0604020202020204" pitchFamily="34" charset="0"/>
                <a:ea typeface="微软雅黑" pitchFamily="34" charset="-122"/>
                <a:cs typeface="Arial" pitchFamily="34" charset="0"/>
              </a:rPr>
              <a:t> </a:t>
            </a:r>
            <a:r>
              <a:rPr lang="en-US" altLang="zh-CN" sz="1000" b="1" kern="0" dirty="0" smtClean="0">
                <a:solidFill>
                  <a:srgbClr val="FFFFFF"/>
                </a:solidFill>
                <a:latin typeface="Arial" panose="020B0604020202020204" pitchFamily="34" charset="0"/>
                <a:ea typeface="微软雅黑" pitchFamily="34" charset="-122"/>
                <a:cs typeface="Arial" pitchFamily="34" charset="0"/>
              </a:rPr>
              <a:t>service</a:t>
            </a:r>
            <a:r>
              <a:rPr lang="en-US" altLang="zh-CN" sz="1000" b="1" kern="0" spc="300" dirty="0" smtClean="0">
                <a:solidFill>
                  <a:srgbClr val="FFFFFF"/>
                </a:solidFill>
                <a:latin typeface="Arial" panose="020B0604020202020204" pitchFamily="34" charset="0"/>
                <a:ea typeface="微软雅黑" pitchFamily="34" charset="-122"/>
                <a:cs typeface="Arial" pitchFamily="34" charset="0"/>
              </a:rPr>
              <a:t> </a:t>
            </a:r>
            <a:r>
              <a:rPr lang="en-US" altLang="zh-CN" sz="1000" b="1" kern="0" dirty="0" smtClean="0">
                <a:solidFill>
                  <a:srgbClr val="FFFFFF"/>
                </a:solidFill>
                <a:latin typeface="Arial" panose="020B0604020202020204" pitchFamily="34" charset="0"/>
                <a:ea typeface="微软雅黑" pitchFamily="34" charset="-122"/>
                <a:cs typeface="Arial" pitchFamily="34" charset="0"/>
              </a:rPr>
              <a:t>support</a:t>
            </a:r>
            <a:r>
              <a:rPr lang="en-US" altLang="zh-CN" sz="1000" b="1" kern="0" spc="300" dirty="0" smtClean="0">
                <a:solidFill>
                  <a:srgbClr val="FFFFFF"/>
                </a:solidFill>
                <a:latin typeface="Arial" panose="020B0604020202020204" pitchFamily="34" charset="0"/>
                <a:ea typeface="微软雅黑" pitchFamily="34" charset="-122"/>
                <a:cs typeface="Arial" pitchFamily="34" charset="0"/>
              </a:rPr>
              <a:t> </a:t>
            </a:r>
            <a:r>
              <a:rPr lang="en-US" altLang="zh-CN" sz="1000" b="1" kern="0" dirty="0" smtClean="0">
                <a:solidFill>
                  <a:srgbClr val="FFFFFF"/>
                </a:solidFill>
                <a:latin typeface="Arial" panose="020B0604020202020204" pitchFamily="34" charset="0"/>
                <a:ea typeface="微软雅黑" pitchFamily="34" charset="-122"/>
                <a:cs typeface="Arial" pitchFamily="34" charset="0"/>
              </a:rPr>
              <a:t>platform</a:t>
            </a:r>
            <a:endParaRPr lang="zh-CN" altLang="en-US" sz="1000" b="1" kern="0" dirty="0">
              <a:solidFill>
                <a:srgbClr val="FFFFFF"/>
              </a:solidFill>
              <a:latin typeface="Arial" panose="020B0604020202020204" pitchFamily="34" charset="0"/>
              <a:ea typeface="微软雅黑" pitchFamily="34" charset="-122"/>
              <a:cs typeface="Arial" pitchFamily="34" charset="0"/>
            </a:endParaRPr>
          </a:p>
        </p:txBody>
      </p:sp>
      <p:sp>
        <p:nvSpPr>
          <p:cNvPr id="132" name="604163083"/>
          <p:cNvSpPr>
            <a:spLocks noChangeArrowheads="1"/>
          </p:cNvSpPr>
          <p:nvPr/>
        </p:nvSpPr>
        <p:spPr bwMode="auto">
          <a:xfrm>
            <a:off x="4663331" y="5465505"/>
            <a:ext cx="1612168" cy="474238"/>
          </a:xfrm>
          <a:prstGeom prst="round2SameRect">
            <a:avLst>
              <a:gd name="adj1" fmla="val 0"/>
              <a:gd name="adj2" fmla="val 0"/>
            </a:avLst>
          </a:prstGeom>
          <a:solidFill>
            <a:schemeClr val="bg1">
              <a:lumMod val="6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16846" tIns="8423" rIns="16846" bIns="8423" anchor="b" anchorCtr="1"/>
          <a:lstStyle/>
          <a:p>
            <a:pPr marR="0" lvl="0" indent="0" algn="ctr" defTabSz="588012" eaLnBrk="0" fontAlgn="auto" hangingPunct="0">
              <a:lnSpc>
                <a:spcPct val="100000"/>
              </a:lnSpc>
              <a:spcBef>
                <a:spcPts val="0"/>
              </a:spcBef>
              <a:spcAft>
                <a:spcPts val="0"/>
              </a:spcAft>
              <a:buClrTx/>
              <a:buSzPct val="60000"/>
              <a:buFontTx/>
              <a:buNone/>
              <a:tabLst/>
              <a:defRPr/>
            </a:pPr>
            <a:r>
              <a:rPr lang="en-US" altLang="zh-CN" sz="1000" b="1" kern="0" dirty="0" smtClean="0">
                <a:solidFill>
                  <a:srgbClr val="FFFFFF"/>
                </a:solidFill>
                <a:latin typeface="Arial" panose="020B0604020202020204" pitchFamily="34" charset="0"/>
                <a:ea typeface="微软雅黑" pitchFamily="34" charset="-122"/>
                <a:cs typeface="Arial" pitchFamily="34" charset="0"/>
              </a:rPr>
              <a:t>ICT capability exposure platform</a:t>
            </a:r>
            <a:endParaRPr lang="zh-CN" altLang="en-US" sz="1000" b="1" kern="0" dirty="0">
              <a:solidFill>
                <a:srgbClr val="FFFFFF"/>
              </a:solidFill>
              <a:latin typeface="Arial" panose="020B0604020202020204" pitchFamily="34" charset="0"/>
              <a:ea typeface="微软雅黑" pitchFamily="34" charset="-122"/>
              <a:cs typeface="Arial" pitchFamily="34" charset="0"/>
            </a:endParaRPr>
          </a:p>
        </p:txBody>
      </p:sp>
      <p:grpSp>
        <p:nvGrpSpPr>
          <p:cNvPr id="133" name="组合 113"/>
          <p:cNvGrpSpPr/>
          <p:nvPr/>
        </p:nvGrpSpPr>
        <p:grpSpPr>
          <a:xfrm>
            <a:off x="956759" y="6611133"/>
            <a:ext cx="456017" cy="149225"/>
            <a:chOff x="4108450" y="5583238"/>
            <a:chExt cx="465138" cy="455612"/>
          </a:xfrm>
          <a:solidFill>
            <a:schemeClr val="bg1"/>
          </a:solidFill>
        </p:grpSpPr>
        <p:sp>
          <p:nvSpPr>
            <p:cNvPr id="134" name="Freeform 37"/>
            <p:cNvSpPr>
              <a:spLocks/>
            </p:cNvSpPr>
            <p:nvPr/>
          </p:nvSpPr>
          <p:spPr bwMode="auto">
            <a:xfrm>
              <a:off x="4400550" y="5738813"/>
              <a:ext cx="73025" cy="19050"/>
            </a:xfrm>
            <a:custGeom>
              <a:avLst/>
              <a:gdLst>
                <a:gd name="T0" fmla="*/ 28 w 211"/>
                <a:gd name="T1" fmla="*/ 56 h 56"/>
                <a:gd name="T2" fmla="*/ 183 w 211"/>
                <a:gd name="T3" fmla="*/ 56 h 56"/>
                <a:gd name="T4" fmla="*/ 211 w 211"/>
                <a:gd name="T5" fmla="*/ 28 h 56"/>
                <a:gd name="T6" fmla="*/ 183 w 211"/>
                <a:gd name="T7" fmla="*/ 0 h 56"/>
                <a:gd name="T8" fmla="*/ 28 w 211"/>
                <a:gd name="T9" fmla="*/ 0 h 56"/>
                <a:gd name="T10" fmla="*/ 0 w 211"/>
                <a:gd name="T11" fmla="*/ 28 h 56"/>
                <a:gd name="T12" fmla="*/ 28 w 211"/>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11" h="56">
                  <a:moveTo>
                    <a:pt x="28" y="56"/>
                  </a:moveTo>
                  <a:cubicBezTo>
                    <a:pt x="183" y="56"/>
                    <a:pt x="183" y="56"/>
                    <a:pt x="183" y="56"/>
                  </a:cubicBezTo>
                  <a:cubicBezTo>
                    <a:pt x="199" y="56"/>
                    <a:pt x="211" y="43"/>
                    <a:pt x="211" y="28"/>
                  </a:cubicBezTo>
                  <a:cubicBezTo>
                    <a:pt x="211" y="12"/>
                    <a:pt x="199" y="0"/>
                    <a:pt x="183" y="0"/>
                  </a:cubicBezTo>
                  <a:cubicBezTo>
                    <a:pt x="28" y="0"/>
                    <a:pt x="28" y="0"/>
                    <a:pt x="28" y="0"/>
                  </a:cubicBezTo>
                  <a:cubicBezTo>
                    <a:pt x="12" y="0"/>
                    <a:pt x="0" y="12"/>
                    <a:pt x="0" y="28"/>
                  </a:cubicBezTo>
                  <a:cubicBezTo>
                    <a:pt x="0" y="43"/>
                    <a:pt x="12" y="56"/>
                    <a:pt x="28" y="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37" name="Freeform 38"/>
            <p:cNvSpPr>
              <a:spLocks noEditPoints="1"/>
            </p:cNvSpPr>
            <p:nvPr/>
          </p:nvSpPr>
          <p:spPr bwMode="auto">
            <a:xfrm>
              <a:off x="4108450" y="5583238"/>
              <a:ext cx="412750" cy="417512"/>
            </a:xfrm>
            <a:custGeom>
              <a:avLst/>
              <a:gdLst>
                <a:gd name="T0" fmla="*/ 798 w 1201"/>
                <a:gd name="T1" fmla="*/ 1126 h 1220"/>
                <a:gd name="T2" fmla="*/ 515 w 1201"/>
                <a:gd name="T3" fmla="*/ 1126 h 1220"/>
                <a:gd name="T4" fmla="*/ 515 w 1201"/>
                <a:gd name="T5" fmla="*/ 94 h 1220"/>
                <a:gd name="T6" fmla="*/ 1107 w 1201"/>
                <a:gd name="T7" fmla="*/ 94 h 1220"/>
                <a:gd name="T8" fmla="*/ 1107 w 1201"/>
                <a:gd name="T9" fmla="*/ 765 h 1220"/>
                <a:gd name="T10" fmla="*/ 1201 w 1201"/>
                <a:gd name="T11" fmla="*/ 793 h 1220"/>
                <a:gd name="T12" fmla="*/ 1201 w 1201"/>
                <a:gd name="T13" fmla="*/ 47 h 1220"/>
                <a:gd name="T14" fmla="*/ 1154 w 1201"/>
                <a:gd name="T15" fmla="*/ 0 h 1220"/>
                <a:gd name="T16" fmla="*/ 468 w 1201"/>
                <a:gd name="T17" fmla="*/ 0 h 1220"/>
                <a:gd name="T18" fmla="*/ 422 w 1201"/>
                <a:gd name="T19" fmla="*/ 47 h 1220"/>
                <a:gd name="T20" fmla="*/ 422 w 1201"/>
                <a:gd name="T21" fmla="*/ 459 h 1220"/>
                <a:gd name="T22" fmla="*/ 47 w 1201"/>
                <a:gd name="T23" fmla="*/ 459 h 1220"/>
                <a:gd name="T24" fmla="*/ 0 w 1201"/>
                <a:gd name="T25" fmla="*/ 506 h 1220"/>
                <a:gd name="T26" fmla="*/ 0 w 1201"/>
                <a:gd name="T27" fmla="*/ 1173 h 1220"/>
                <a:gd name="T28" fmla="*/ 47 w 1201"/>
                <a:gd name="T29" fmla="*/ 1220 h 1220"/>
                <a:gd name="T30" fmla="*/ 843 w 1201"/>
                <a:gd name="T31" fmla="*/ 1220 h 1220"/>
                <a:gd name="T32" fmla="*/ 798 w 1201"/>
                <a:gd name="T33" fmla="*/ 1126 h 1220"/>
                <a:gd name="T34" fmla="*/ 422 w 1201"/>
                <a:gd name="T35" fmla="*/ 1126 h 1220"/>
                <a:gd name="T36" fmla="*/ 94 w 1201"/>
                <a:gd name="T37" fmla="*/ 1126 h 1220"/>
                <a:gd name="T38" fmla="*/ 94 w 1201"/>
                <a:gd name="T39" fmla="*/ 553 h 1220"/>
                <a:gd name="T40" fmla="*/ 422 w 1201"/>
                <a:gd name="T41" fmla="*/ 553 h 1220"/>
                <a:gd name="T42" fmla="*/ 422 w 1201"/>
                <a:gd name="T43" fmla="*/ 112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01" h="1220">
                  <a:moveTo>
                    <a:pt x="798" y="1126"/>
                  </a:moveTo>
                  <a:cubicBezTo>
                    <a:pt x="515" y="1126"/>
                    <a:pt x="515" y="1126"/>
                    <a:pt x="515" y="1126"/>
                  </a:cubicBezTo>
                  <a:cubicBezTo>
                    <a:pt x="515" y="94"/>
                    <a:pt x="515" y="94"/>
                    <a:pt x="515" y="94"/>
                  </a:cubicBezTo>
                  <a:cubicBezTo>
                    <a:pt x="1107" y="94"/>
                    <a:pt x="1107" y="94"/>
                    <a:pt x="1107" y="94"/>
                  </a:cubicBezTo>
                  <a:cubicBezTo>
                    <a:pt x="1107" y="765"/>
                    <a:pt x="1107" y="765"/>
                    <a:pt x="1107" y="765"/>
                  </a:cubicBezTo>
                  <a:cubicBezTo>
                    <a:pt x="1140" y="769"/>
                    <a:pt x="1172" y="779"/>
                    <a:pt x="1201" y="793"/>
                  </a:cubicBezTo>
                  <a:cubicBezTo>
                    <a:pt x="1201" y="47"/>
                    <a:pt x="1201" y="47"/>
                    <a:pt x="1201" y="47"/>
                  </a:cubicBezTo>
                  <a:cubicBezTo>
                    <a:pt x="1201" y="21"/>
                    <a:pt x="1179" y="0"/>
                    <a:pt x="1154" y="0"/>
                  </a:cubicBezTo>
                  <a:cubicBezTo>
                    <a:pt x="468" y="0"/>
                    <a:pt x="468" y="0"/>
                    <a:pt x="468" y="0"/>
                  </a:cubicBezTo>
                  <a:cubicBezTo>
                    <a:pt x="442" y="0"/>
                    <a:pt x="422" y="21"/>
                    <a:pt x="422" y="47"/>
                  </a:cubicBezTo>
                  <a:cubicBezTo>
                    <a:pt x="422" y="459"/>
                    <a:pt x="422" y="459"/>
                    <a:pt x="422" y="459"/>
                  </a:cubicBezTo>
                  <a:cubicBezTo>
                    <a:pt x="47" y="459"/>
                    <a:pt x="47" y="459"/>
                    <a:pt x="47" y="459"/>
                  </a:cubicBezTo>
                  <a:cubicBezTo>
                    <a:pt x="21" y="459"/>
                    <a:pt x="0" y="480"/>
                    <a:pt x="0" y="506"/>
                  </a:cubicBezTo>
                  <a:cubicBezTo>
                    <a:pt x="0" y="1173"/>
                    <a:pt x="0" y="1173"/>
                    <a:pt x="0" y="1173"/>
                  </a:cubicBezTo>
                  <a:cubicBezTo>
                    <a:pt x="0" y="1199"/>
                    <a:pt x="21" y="1220"/>
                    <a:pt x="47" y="1220"/>
                  </a:cubicBezTo>
                  <a:cubicBezTo>
                    <a:pt x="843" y="1220"/>
                    <a:pt x="843" y="1220"/>
                    <a:pt x="843" y="1220"/>
                  </a:cubicBezTo>
                  <a:cubicBezTo>
                    <a:pt x="823" y="1192"/>
                    <a:pt x="807" y="1160"/>
                    <a:pt x="798" y="1126"/>
                  </a:cubicBezTo>
                  <a:close/>
                  <a:moveTo>
                    <a:pt x="422" y="1126"/>
                  </a:moveTo>
                  <a:cubicBezTo>
                    <a:pt x="94" y="1126"/>
                    <a:pt x="94" y="1126"/>
                    <a:pt x="94" y="1126"/>
                  </a:cubicBezTo>
                  <a:cubicBezTo>
                    <a:pt x="94" y="553"/>
                    <a:pt x="94" y="553"/>
                    <a:pt x="94" y="553"/>
                  </a:cubicBezTo>
                  <a:cubicBezTo>
                    <a:pt x="422" y="553"/>
                    <a:pt x="422" y="553"/>
                    <a:pt x="422" y="553"/>
                  </a:cubicBezTo>
                  <a:lnTo>
                    <a:pt x="422" y="11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38" name="Freeform 39"/>
            <p:cNvSpPr>
              <a:spLocks/>
            </p:cNvSpPr>
            <p:nvPr/>
          </p:nvSpPr>
          <p:spPr bwMode="auto">
            <a:xfrm>
              <a:off x="4156075" y="5892800"/>
              <a:ext cx="71438" cy="19050"/>
            </a:xfrm>
            <a:custGeom>
              <a:avLst/>
              <a:gdLst>
                <a:gd name="T0" fmla="*/ 29 w 212"/>
                <a:gd name="T1" fmla="*/ 57 h 57"/>
                <a:gd name="T2" fmla="*/ 184 w 212"/>
                <a:gd name="T3" fmla="*/ 57 h 57"/>
                <a:gd name="T4" fmla="*/ 212 w 212"/>
                <a:gd name="T5" fmla="*/ 29 h 57"/>
                <a:gd name="T6" fmla="*/ 184 w 212"/>
                <a:gd name="T7" fmla="*/ 0 h 57"/>
                <a:gd name="T8" fmla="*/ 29 w 212"/>
                <a:gd name="T9" fmla="*/ 0 h 57"/>
                <a:gd name="T10" fmla="*/ 0 w 212"/>
                <a:gd name="T11" fmla="*/ 29 h 57"/>
                <a:gd name="T12" fmla="*/ 29 w 212"/>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212" h="57">
                  <a:moveTo>
                    <a:pt x="29" y="57"/>
                  </a:moveTo>
                  <a:cubicBezTo>
                    <a:pt x="184" y="57"/>
                    <a:pt x="184" y="57"/>
                    <a:pt x="184" y="57"/>
                  </a:cubicBezTo>
                  <a:cubicBezTo>
                    <a:pt x="200" y="57"/>
                    <a:pt x="212" y="44"/>
                    <a:pt x="212" y="29"/>
                  </a:cubicBezTo>
                  <a:cubicBezTo>
                    <a:pt x="212" y="13"/>
                    <a:pt x="200" y="0"/>
                    <a:pt x="184" y="0"/>
                  </a:cubicBezTo>
                  <a:cubicBezTo>
                    <a:pt x="29" y="0"/>
                    <a:pt x="29" y="0"/>
                    <a:pt x="29" y="0"/>
                  </a:cubicBezTo>
                  <a:cubicBezTo>
                    <a:pt x="13" y="0"/>
                    <a:pt x="0" y="13"/>
                    <a:pt x="0" y="29"/>
                  </a:cubicBezTo>
                  <a:cubicBezTo>
                    <a:pt x="0" y="44"/>
                    <a:pt x="13" y="57"/>
                    <a:pt x="29" y="5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39" name="Freeform 40"/>
            <p:cNvSpPr>
              <a:spLocks/>
            </p:cNvSpPr>
            <p:nvPr/>
          </p:nvSpPr>
          <p:spPr bwMode="auto">
            <a:xfrm>
              <a:off x="4156075" y="5815013"/>
              <a:ext cx="71438" cy="19050"/>
            </a:xfrm>
            <a:custGeom>
              <a:avLst/>
              <a:gdLst>
                <a:gd name="T0" fmla="*/ 29 w 212"/>
                <a:gd name="T1" fmla="*/ 56 h 56"/>
                <a:gd name="T2" fmla="*/ 184 w 212"/>
                <a:gd name="T3" fmla="*/ 56 h 56"/>
                <a:gd name="T4" fmla="*/ 212 w 212"/>
                <a:gd name="T5" fmla="*/ 28 h 56"/>
                <a:gd name="T6" fmla="*/ 184 w 212"/>
                <a:gd name="T7" fmla="*/ 0 h 56"/>
                <a:gd name="T8" fmla="*/ 29 w 212"/>
                <a:gd name="T9" fmla="*/ 0 h 56"/>
                <a:gd name="T10" fmla="*/ 0 w 212"/>
                <a:gd name="T11" fmla="*/ 28 h 56"/>
                <a:gd name="T12" fmla="*/ 29 w 212"/>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12" h="56">
                  <a:moveTo>
                    <a:pt x="29" y="56"/>
                  </a:moveTo>
                  <a:cubicBezTo>
                    <a:pt x="184" y="56"/>
                    <a:pt x="184" y="56"/>
                    <a:pt x="184" y="56"/>
                  </a:cubicBezTo>
                  <a:cubicBezTo>
                    <a:pt x="200" y="56"/>
                    <a:pt x="212" y="43"/>
                    <a:pt x="212" y="28"/>
                  </a:cubicBezTo>
                  <a:cubicBezTo>
                    <a:pt x="212" y="12"/>
                    <a:pt x="200" y="0"/>
                    <a:pt x="184" y="0"/>
                  </a:cubicBezTo>
                  <a:cubicBezTo>
                    <a:pt x="29" y="0"/>
                    <a:pt x="29" y="0"/>
                    <a:pt x="29" y="0"/>
                  </a:cubicBezTo>
                  <a:cubicBezTo>
                    <a:pt x="13" y="0"/>
                    <a:pt x="0" y="12"/>
                    <a:pt x="0" y="28"/>
                  </a:cubicBezTo>
                  <a:cubicBezTo>
                    <a:pt x="0" y="43"/>
                    <a:pt x="13" y="56"/>
                    <a:pt x="29" y="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40" name="Freeform 41"/>
            <p:cNvSpPr>
              <a:spLocks/>
            </p:cNvSpPr>
            <p:nvPr/>
          </p:nvSpPr>
          <p:spPr bwMode="auto">
            <a:xfrm>
              <a:off x="4300538" y="5815013"/>
              <a:ext cx="73025" cy="19050"/>
            </a:xfrm>
            <a:custGeom>
              <a:avLst/>
              <a:gdLst>
                <a:gd name="T0" fmla="*/ 183 w 211"/>
                <a:gd name="T1" fmla="*/ 0 h 56"/>
                <a:gd name="T2" fmla="*/ 28 w 211"/>
                <a:gd name="T3" fmla="*/ 0 h 56"/>
                <a:gd name="T4" fmla="*/ 0 w 211"/>
                <a:gd name="T5" fmla="*/ 28 h 56"/>
                <a:gd name="T6" fmla="*/ 28 w 211"/>
                <a:gd name="T7" fmla="*/ 56 h 56"/>
                <a:gd name="T8" fmla="*/ 183 w 211"/>
                <a:gd name="T9" fmla="*/ 56 h 56"/>
                <a:gd name="T10" fmla="*/ 211 w 211"/>
                <a:gd name="T11" fmla="*/ 28 h 56"/>
                <a:gd name="T12" fmla="*/ 183 w 211"/>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211" h="56">
                  <a:moveTo>
                    <a:pt x="183" y="0"/>
                  </a:moveTo>
                  <a:cubicBezTo>
                    <a:pt x="28" y="0"/>
                    <a:pt x="28" y="0"/>
                    <a:pt x="28" y="0"/>
                  </a:cubicBezTo>
                  <a:cubicBezTo>
                    <a:pt x="13" y="0"/>
                    <a:pt x="0" y="12"/>
                    <a:pt x="0" y="28"/>
                  </a:cubicBezTo>
                  <a:cubicBezTo>
                    <a:pt x="0" y="43"/>
                    <a:pt x="13" y="56"/>
                    <a:pt x="28" y="56"/>
                  </a:cubicBezTo>
                  <a:cubicBezTo>
                    <a:pt x="183" y="56"/>
                    <a:pt x="183" y="56"/>
                    <a:pt x="183" y="56"/>
                  </a:cubicBezTo>
                  <a:cubicBezTo>
                    <a:pt x="199" y="56"/>
                    <a:pt x="211" y="43"/>
                    <a:pt x="211" y="28"/>
                  </a:cubicBezTo>
                  <a:cubicBezTo>
                    <a:pt x="211" y="12"/>
                    <a:pt x="199" y="0"/>
                    <a:pt x="18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41" name="Freeform 42"/>
            <p:cNvSpPr>
              <a:spLocks/>
            </p:cNvSpPr>
            <p:nvPr/>
          </p:nvSpPr>
          <p:spPr bwMode="auto">
            <a:xfrm>
              <a:off x="4300538" y="5661025"/>
              <a:ext cx="73025" cy="19050"/>
            </a:xfrm>
            <a:custGeom>
              <a:avLst/>
              <a:gdLst>
                <a:gd name="T0" fmla="*/ 183 w 211"/>
                <a:gd name="T1" fmla="*/ 0 h 56"/>
                <a:gd name="T2" fmla="*/ 28 w 211"/>
                <a:gd name="T3" fmla="*/ 0 h 56"/>
                <a:gd name="T4" fmla="*/ 0 w 211"/>
                <a:gd name="T5" fmla="*/ 28 h 56"/>
                <a:gd name="T6" fmla="*/ 28 w 211"/>
                <a:gd name="T7" fmla="*/ 56 h 56"/>
                <a:gd name="T8" fmla="*/ 183 w 211"/>
                <a:gd name="T9" fmla="*/ 56 h 56"/>
                <a:gd name="T10" fmla="*/ 211 w 211"/>
                <a:gd name="T11" fmla="*/ 28 h 56"/>
                <a:gd name="T12" fmla="*/ 183 w 211"/>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211" h="56">
                  <a:moveTo>
                    <a:pt x="183" y="0"/>
                  </a:moveTo>
                  <a:cubicBezTo>
                    <a:pt x="28" y="0"/>
                    <a:pt x="28" y="0"/>
                    <a:pt x="28" y="0"/>
                  </a:cubicBezTo>
                  <a:cubicBezTo>
                    <a:pt x="13" y="0"/>
                    <a:pt x="0" y="12"/>
                    <a:pt x="0" y="28"/>
                  </a:cubicBezTo>
                  <a:cubicBezTo>
                    <a:pt x="0" y="44"/>
                    <a:pt x="13" y="56"/>
                    <a:pt x="28" y="56"/>
                  </a:cubicBezTo>
                  <a:cubicBezTo>
                    <a:pt x="183" y="56"/>
                    <a:pt x="183" y="56"/>
                    <a:pt x="183" y="56"/>
                  </a:cubicBezTo>
                  <a:cubicBezTo>
                    <a:pt x="199" y="56"/>
                    <a:pt x="211" y="44"/>
                    <a:pt x="211" y="28"/>
                  </a:cubicBezTo>
                  <a:cubicBezTo>
                    <a:pt x="211" y="12"/>
                    <a:pt x="199" y="0"/>
                    <a:pt x="18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42" name="Freeform 43"/>
            <p:cNvSpPr>
              <a:spLocks/>
            </p:cNvSpPr>
            <p:nvPr/>
          </p:nvSpPr>
          <p:spPr bwMode="auto">
            <a:xfrm>
              <a:off x="4300538" y="5738813"/>
              <a:ext cx="73025" cy="19050"/>
            </a:xfrm>
            <a:custGeom>
              <a:avLst/>
              <a:gdLst>
                <a:gd name="T0" fmla="*/ 183 w 211"/>
                <a:gd name="T1" fmla="*/ 0 h 56"/>
                <a:gd name="T2" fmla="*/ 28 w 211"/>
                <a:gd name="T3" fmla="*/ 0 h 56"/>
                <a:gd name="T4" fmla="*/ 0 w 211"/>
                <a:gd name="T5" fmla="*/ 28 h 56"/>
                <a:gd name="T6" fmla="*/ 28 w 211"/>
                <a:gd name="T7" fmla="*/ 56 h 56"/>
                <a:gd name="T8" fmla="*/ 183 w 211"/>
                <a:gd name="T9" fmla="*/ 56 h 56"/>
                <a:gd name="T10" fmla="*/ 211 w 211"/>
                <a:gd name="T11" fmla="*/ 28 h 56"/>
                <a:gd name="T12" fmla="*/ 183 w 211"/>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211" h="56">
                  <a:moveTo>
                    <a:pt x="183" y="0"/>
                  </a:moveTo>
                  <a:cubicBezTo>
                    <a:pt x="28" y="0"/>
                    <a:pt x="28" y="0"/>
                    <a:pt x="28" y="0"/>
                  </a:cubicBezTo>
                  <a:cubicBezTo>
                    <a:pt x="13" y="0"/>
                    <a:pt x="0" y="12"/>
                    <a:pt x="0" y="28"/>
                  </a:cubicBezTo>
                  <a:cubicBezTo>
                    <a:pt x="0" y="43"/>
                    <a:pt x="13" y="56"/>
                    <a:pt x="28" y="56"/>
                  </a:cubicBezTo>
                  <a:cubicBezTo>
                    <a:pt x="183" y="56"/>
                    <a:pt x="183" y="56"/>
                    <a:pt x="183" y="56"/>
                  </a:cubicBezTo>
                  <a:cubicBezTo>
                    <a:pt x="199" y="56"/>
                    <a:pt x="211" y="43"/>
                    <a:pt x="211" y="28"/>
                  </a:cubicBezTo>
                  <a:cubicBezTo>
                    <a:pt x="211" y="12"/>
                    <a:pt x="199" y="0"/>
                    <a:pt x="18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43" name="Freeform 44"/>
            <p:cNvSpPr>
              <a:spLocks/>
            </p:cNvSpPr>
            <p:nvPr/>
          </p:nvSpPr>
          <p:spPr bwMode="auto">
            <a:xfrm>
              <a:off x="4400550" y="5815013"/>
              <a:ext cx="73025" cy="19050"/>
            </a:xfrm>
            <a:custGeom>
              <a:avLst/>
              <a:gdLst>
                <a:gd name="T0" fmla="*/ 28 w 211"/>
                <a:gd name="T1" fmla="*/ 56 h 56"/>
                <a:gd name="T2" fmla="*/ 183 w 211"/>
                <a:gd name="T3" fmla="*/ 56 h 56"/>
                <a:gd name="T4" fmla="*/ 211 w 211"/>
                <a:gd name="T5" fmla="*/ 28 h 56"/>
                <a:gd name="T6" fmla="*/ 183 w 211"/>
                <a:gd name="T7" fmla="*/ 0 h 56"/>
                <a:gd name="T8" fmla="*/ 28 w 211"/>
                <a:gd name="T9" fmla="*/ 0 h 56"/>
                <a:gd name="T10" fmla="*/ 0 w 211"/>
                <a:gd name="T11" fmla="*/ 28 h 56"/>
                <a:gd name="T12" fmla="*/ 28 w 211"/>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11" h="56">
                  <a:moveTo>
                    <a:pt x="28" y="56"/>
                  </a:moveTo>
                  <a:cubicBezTo>
                    <a:pt x="183" y="56"/>
                    <a:pt x="183" y="56"/>
                    <a:pt x="183" y="56"/>
                  </a:cubicBezTo>
                  <a:cubicBezTo>
                    <a:pt x="199" y="56"/>
                    <a:pt x="211" y="43"/>
                    <a:pt x="211" y="28"/>
                  </a:cubicBezTo>
                  <a:cubicBezTo>
                    <a:pt x="211" y="12"/>
                    <a:pt x="199" y="0"/>
                    <a:pt x="183" y="0"/>
                  </a:cubicBezTo>
                  <a:cubicBezTo>
                    <a:pt x="28" y="0"/>
                    <a:pt x="28" y="0"/>
                    <a:pt x="28" y="0"/>
                  </a:cubicBezTo>
                  <a:cubicBezTo>
                    <a:pt x="12" y="0"/>
                    <a:pt x="0" y="12"/>
                    <a:pt x="0" y="28"/>
                  </a:cubicBezTo>
                  <a:cubicBezTo>
                    <a:pt x="0" y="43"/>
                    <a:pt x="12" y="56"/>
                    <a:pt x="28" y="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44" name="Freeform 45"/>
            <p:cNvSpPr>
              <a:spLocks/>
            </p:cNvSpPr>
            <p:nvPr/>
          </p:nvSpPr>
          <p:spPr bwMode="auto">
            <a:xfrm>
              <a:off x="4400550" y="5661025"/>
              <a:ext cx="73025" cy="19050"/>
            </a:xfrm>
            <a:custGeom>
              <a:avLst/>
              <a:gdLst>
                <a:gd name="T0" fmla="*/ 28 w 211"/>
                <a:gd name="T1" fmla="*/ 56 h 56"/>
                <a:gd name="T2" fmla="*/ 183 w 211"/>
                <a:gd name="T3" fmla="*/ 56 h 56"/>
                <a:gd name="T4" fmla="*/ 211 w 211"/>
                <a:gd name="T5" fmla="*/ 28 h 56"/>
                <a:gd name="T6" fmla="*/ 183 w 211"/>
                <a:gd name="T7" fmla="*/ 0 h 56"/>
                <a:gd name="T8" fmla="*/ 28 w 211"/>
                <a:gd name="T9" fmla="*/ 0 h 56"/>
                <a:gd name="T10" fmla="*/ 0 w 211"/>
                <a:gd name="T11" fmla="*/ 28 h 56"/>
                <a:gd name="T12" fmla="*/ 28 w 211"/>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11" h="56">
                  <a:moveTo>
                    <a:pt x="28" y="56"/>
                  </a:moveTo>
                  <a:cubicBezTo>
                    <a:pt x="183" y="56"/>
                    <a:pt x="183" y="56"/>
                    <a:pt x="183" y="56"/>
                  </a:cubicBezTo>
                  <a:cubicBezTo>
                    <a:pt x="199" y="56"/>
                    <a:pt x="211" y="44"/>
                    <a:pt x="211" y="28"/>
                  </a:cubicBezTo>
                  <a:cubicBezTo>
                    <a:pt x="211" y="12"/>
                    <a:pt x="199" y="0"/>
                    <a:pt x="183" y="0"/>
                  </a:cubicBezTo>
                  <a:cubicBezTo>
                    <a:pt x="28" y="0"/>
                    <a:pt x="28" y="0"/>
                    <a:pt x="28" y="0"/>
                  </a:cubicBezTo>
                  <a:cubicBezTo>
                    <a:pt x="12" y="0"/>
                    <a:pt x="0" y="12"/>
                    <a:pt x="0" y="28"/>
                  </a:cubicBezTo>
                  <a:cubicBezTo>
                    <a:pt x="0" y="44"/>
                    <a:pt x="12" y="56"/>
                    <a:pt x="28" y="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45" name="Freeform 46"/>
            <p:cNvSpPr>
              <a:spLocks/>
            </p:cNvSpPr>
            <p:nvPr/>
          </p:nvSpPr>
          <p:spPr bwMode="auto">
            <a:xfrm>
              <a:off x="4300538" y="5892800"/>
              <a:ext cx="73025" cy="19050"/>
            </a:xfrm>
            <a:custGeom>
              <a:avLst/>
              <a:gdLst>
                <a:gd name="T0" fmla="*/ 183 w 211"/>
                <a:gd name="T1" fmla="*/ 0 h 57"/>
                <a:gd name="T2" fmla="*/ 28 w 211"/>
                <a:gd name="T3" fmla="*/ 0 h 57"/>
                <a:gd name="T4" fmla="*/ 0 w 211"/>
                <a:gd name="T5" fmla="*/ 29 h 57"/>
                <a:gd name="T6" fmla="*/ 28 w 211"/>
                <a:gd name="T7" fmla="*/ 57 h 57"/>
                <a:gd name="T8" fmla="*/ 183 w 211"/>
                <a:gd name="T9" fmla="*/ 57 h 57"/>
                <a:gd name="T10" fmla="*/ 211 w 211"/>
                <a:gd name="T11" fmla="*/ 29 h 57"/>
                <a:gd name="T12" fmla="*/ 183 w 211"/>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211" h="57">
                  <a:moveTo>
                    <a:pt x="183" y="0"/>
                  </a:moveTo>
                  <a:cubicBezTo>
                    <a:pt x="28" y="0"/>
                    <a:pt x="28" y="0"/>
                    <a:pt x="28" y="0"/>
                  </a:cubicBezTo>
                  <a:cubicBezTo>
                    <a:pt x="13" y="0"/>
                    <a:pt x="0" y="13"/>
                    <a:pt x="0" y="29"/>
                  </a:cubicBezTo>
                  <a:cubicBezTo>
                    <a:pt x="0" y="44"/>
                    <a:pt x="13" y="57"/>
                    <a:pt x="28" y="57"/>
                  </a:cubicBezTo>
                  <a:cubicBezTo>
                    <a:pt x="183" y="57"/>
                    <a:pt x="183" y="57"/>
                    <a:pt x="183" y="57"/>
                  </a:cubicBezTo>
                  <a:cubicBezTo>
                    <a:pt x="199" y="57"/>
                    <a:pt x="211" y="44"/>
                    <a:pt x="211" y="29"/>
                  </a:cubicBezTo>
                  <a:cubicBezTo>
                    <a:pt x="211" y="13"/>
                    <a:pt x="199" y="0"/>
                    <a:pt x="18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46" name="Freeform 47"/>
            <p:cNvSpPr>
              <a:spLocks noEditPoints="1"/>
            </p:cNvSpPr>
            <p:nvPr/>
          </p:nvSpPr>
          <p:spPr bwMode="auto">
            <a:xfrm>
              <a:off x="4383088" y="5848350"/>
              <a:ext cx="190500" cy="190500"/>
            </a:xfrm>
            <a:custGeom>
              <a:avLst/>
              <a:gdLst>
                <a:gd name="T0" fmla="*/ 476 w 557"/>
                <a:gd name="T1" fmla="*/ 81 h 557"/>
                <a:gd name="T2" fmla="*/ 476 w 557"/>
                <a:gd name="T3" fmla="*/ 475 h 557"/>
                <a:gd name="T4" fmla="*/ 82 w 557"/>
                <a:gd name="T5" fmla="*/ 475 h 557"/>
                <a:gd name="T6" fmla="*/ 82 w 557"/>
                <a:gd name="T7" fmla="*/ 81 h 557"/>
                <a:gd name="T8" fmla="*/ 266 w 557"/>
                <a:gd name="T9" fmla="*/ 514 h 557"/>
                <a:gd name="T10" fmla="*/ 266 w 557"/>
                <a:gd name="T11" fmla="*/ 424 h 557"/>
                <a:gd name="T12" fmla="*/ 184 w 557"/>
                <a:gd name="T13" fmla="*/ 442 h 557"/>
                <a:gd name="T14" fmla="*/ 240 w 557"/>
                <a:gd name="T15" fmla="*/ 511 h 557"/>
                <a:gd name="T16" fmla="*/ 445 w 557"/>
                <a:gd name="T17" fmla="*/ 112 h 557"/>
                <a:gd name="T18" fmla="*/ 440 w 557"/>
                <a:gd name="T19" fmla="*/ 106 h 557"/>
                <a:gd name="T20" fmla="*/ 433 w 557"/>
                <a:gd name="T21" fmla="*/ 266 h 557"/>
                <a:gd name="T22" fmla="*/ 445 w 557"/>
                <a:gd name="T23" fmla="*/ 112 h 557"/>
                <a:gd name="T24" fmla="*/ 419 w 557"/>
                <a:gd name="T25" fmla="*/ 89 h 557"/>
                <a:gd name="T26" fmla="*/ 390 w 557"/>
                <a:gd name="T27" fmla="*/ 90 h 557"/>
                <a:gd name="T28" fmla="*/ 419 w 557"/>
                <a:gd name="T29" fmla="*/ 89 h 557"/>
                <a:gd name="T30" fmla="*/ 318 w 557"/>
                <a:gd name="T31" fmla="*/ 46 h 557"/>
                <a:gd name="T32" fmla="*/ 292 w 557"/>
                <a:gd name="T33" fmla="*/ 133 h 557"/>
                <a:gd name="T34" fmla="*/ 373 w 557"/>
                <a:gd name="T35" fmla="*/ 115 h 557"/>
                <a:gd name="T36" fmla="*/ 318 w 557"/>
                <a:gd name="T37" fmla="*/ 46 h 557"/>
                <a:gd name="T38" fmla="*/ 266 w 557"/>
                <a:gd name="T39" fmla="*/ 43 h 557"/>
                <a:gd name="T40" fmla="*/ 190 w 557"/>
                <a:gd name="T41" fmla="*/ 103 h 557"/>
                <a:gd name="T42" fmla="*/ 194 w 557"/>
                <a:gd name="T43" fmla="*/ 119 h 557"/>
                <a:gd name="T44" fmla="*/ 266 w 557"/>
                <a:gd name="T45" fmla="*/ 43 h 557"/>
                <a:gd name="T46" fmla="*/ 186 w 557"/>
                <a:gd name="T47" fmla="*/ 62 h 557"/>
                <a:gd name="T48" fmla="*/ 161 w 557"/>
                <a:gd name="T49" fmla="*/ 104 h 557"/>
                <a:gd name="T50" fmla="*/ 186 w 557"/>
                <a:gd name="T51" fmla="*/ 62 h 557"/>
                <a:gd name="T52" fmla="*/ 118 w 557"/>
                <a:gd name="T53" fmla="*/ 106 h 557"/>
                <a:gd name="T54" fmla="*/ 43 w 557"/>
                <a:gd name="T55" fmla="*/ 266 h 557"/>
                <a:gd name="T56" fmla="*/ 151 w 557"/>
                <a:gd name="T57" fmla="*/ 127 h 557"/>
                <a:gd name="T58" fmla="*/ 43 w 557"/>
                <a:gd name="T59" fmla="*/ 291 h 557"/>
                <a:gd name="T60" fmla="*/ 112 w 557"/>
                <a:gd name="T61" fmla="*/ 445 h 557"/>
                <a:gd name="T62" fmla="*/ 151 w 557"/>
                <a:gd name="T63" fmla="*/ 430 h 557"/>
                <a:gd name="T64" fmla="*/ 43 w 557"/>
                <a:gd name="T65" fmla="*/ 291 h 557"/>
                <a:gd name="T66" fmla="*/ 138 w 557"/>
                <a:gd name="T67" fmla="*/ 468 h 557"/>
                <a:gd name="T68" fmla="*/ 167 w 557"/>
                <a:gd name="T69" fmla="*/ 466 h 557"/>
                <a:gd name="T70" fmla="*/ 138 w 557"/>
                <a:gd name="T71" fmla="*/ 468 h 557"/>
                <a:gd name="T72" fmla="*/ 292 w 557"/>
                <a:gd name="T73" fmla="*/ 514 h 557"/>
                <a:gd name="T74" fmla="*/ 367 w 557"/>
                <a:gd name="T75" fmla="*/ 454 h 557"/>
                <a:gd name="T76" fmla="*/ 364 w 557"/>
                <a:gd name="T77" fmla="*/ 439 h 557"/>
                <a:gd name="T78" fmla="*/ 292 w 557"/>
                <a:gd name="T79" fmla="*/ 514 h 557"/>
                <a:gd name="T80" fmla="*/ 371 w 557"/>
                <a:gd name="T81" fmla="*/ 495 h 557"/>
                <a:gd name="T82" fmla="*/ 397 w 557"/>
                <a:gd name="T83" fmla="*/ 454 h 557"/>
                <a:gd name="T84" fmla="*/ 371 w 557"/>
                <a:gd name="T85" fmla="*/ 495 h 557"/>
                <a:gd name="T86" fmla="*/ 440 w 557"/>
                <a:gd name="T87" fmla="*/ 451 h 557"/>
                <a:gd name="T88" fmla="*/ 514 w 557"/>
                <a:gd name="T89" fmla="*/ 291 h 557"/>
                <a:gd name="T90" fmla="*/ 407 w 557"/>
                <a:gd name="T91" fmla="*/ 430 h 557"/>
                <a:gd name="T92" fmla="*/ 384 w 557"/>
                <a:gd name="T93" fmla="*/ 138 h 557"/>
                <a:gd name="T94" fmla="*/ 373 w 557"/>
                <a:gd name="T95" fmla="*/ 142 h 557"/>
                <a:gd name="T96" fmla="*/ 292 w 557"/>
                <a:gd name="T97" fmla="*/ 266 h 557"/>
                <a:gd name="T98" fmla="*/ 384 w 557"/>
                <a:gd name="T99" fmla="*/ 138 h 557"/>
                <a:gd name="T100" fmla="*/ 266 w 557"/>
                <a:gd name="T101" fmla="*/ 159 h 557"/>
                <a:gd name="T102" fmla="*/ 174 w 557"/>
                <a:gd name="T103" fmla="*/ 138 h 557"/>
                <a:gd name="T104" fmla="*/ 266 w 557"/>
                <a:gd name="T105" fmla="*/ 266 h 557"/>
                <a:gd name="T106" fmla="*/ 266 w 557"/>
                <a:gd name="T107" fmla="*/ 398 h 557"/>
                <a:gd name="T108" fmla="*/ 266 w 557"/>
                <a:gd name="T109" fmla="*/ 291 h 557"/>
                <a:gd name="T110" fmla="*/ 174 w 557"/>
                <a:gd name="T111" fmla="*/ 419 h 557"/>
                <a:gd name="T112" fmla="*/ 266 w 557"/>
                <a:gd name="T113" fmla="*/ 398 h 557"/>
                <a:gd name="T114" fmla="*/ 292 w 557"/>
                <a:gd name="T115" fmla="*/ 398 h 557"/>
                <a:gd name="T116" fmla="*/ 384 w 557"/>
                <a:gd name="T117" fmla="*/ 419 h 557"/>
                <a:gd name="T118" fmla="*/ 292 w 557"/>
                <a:gd name="T119" fmla="*/ 29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7" h="557">
                  <a:moveTo>
                    <a:pt x="279" y="0"/>
                  </a:moveTo>
                  <a:cubicBezTo>
                    <a:pt x="356" y="0"/>
                    <a:pt x="425" y="31"/>
                    <a:pt x="476" y="81"/>
                  </a:cubicBezTo>
                  <a:cubicBezTo>
                    <a:pt x="526" y="132"/>
                    <a:pt x="557" y="202"/>
                    <a:pt x="557" y="279"/>
                  </a:cubicBezTo>
                  <a:cubicBezTo>
                    <a:pt x="557" y="355"/>
                    <a:pt x="526" y="425"/>
                    <a:pt x="476" y="475"/>
                  </a:cubicBezTo>
                  <a:cubicBezTo>
                    <a:pt x="425" y="526"/>
                    <a:pt x="356" y="557"/>
                    <a:pt x="279" y="557"/>
                  </a:cubicBezTo>
                  <a:cubicBezTo>
                    <a:pt x="202" y="557"/>
                    <a:pt x="132" y="526"/>
                    <a:pt x="82" y="475"/>
                  </a:cubicBezTo>
                  <a:cubicBezTo>
                    <a:pt x="31" y="425"/>
                    <a:pt x="0" y="355"/>
                    <a:pt x="0" y="279"/>
                  </a:cubicBezTo>
                  <a:cubicBezTo>
                    <a:pt x="0" y="202"/>
                    <a:pt x="31" y="132"/>
                    <a:pt x="82" y="81"/>
                  </a:cubicBezTo>
                  <a:cubicBezTo>
                    <a:pt x="132" y="31"/>
                    <a:pt x="202" y="0"/>
                    <a:pt x="279" y="0"/>
                  </a:cubicBezTo>
                  <a:close/>
                  <a:moveTo>
                    <a:pt x="266" y="514"/>
                  </a:moveTo>
                  <a:cubicBezTo>
                    <a:pt x="266" y="514"/>
                    <a:pt x="266" y="514"/>
                    <a:pt x="266" y="514"/>
                  </a:cubicBezTo>
                  <a:cubicBezTo>
                    <a:pt x="266" y="424"/>
                    <a:pt x="266" y="424"/>
                    <a:pt x="266" y="424"/>
                  </a:cubicBezTo>
                  <a:cubicBezTo>
                    <a:pt x="240" y="425"/>
                    <a:pt x="216" y="430"/>
                    <a:pt x="194" y="439"/>
                  </a:cubicBezTo>
                  <a:cubicBezTo>
                    <a:pt x="190" y="440"/>
                    <a:pt x="187" y="441"/>
                    <a:pt x="184" y="442"/>
                  </a:cubicBezTo>
                  <a:cubicBezTo>
                    <a:pt x="186" y="446"/>
                    <a:pt x="188" y="450"/>
                    <a:pt x="190" y="454"/>
                  </a:cubicBezTo>
                  <a:cubicBezTo>
                    <a:pt x="204" y="480"/>
                    <a:pt x="221" y="499"/>
                    <a:pt x="240" y="511"/>
                  </a:cubicBezTo>
                  <a:cubicBezTo>
                    <a:pt x="248" y="512"/>
                    <a:pt x="257" y="513"/>
                    <a:pt x="266" y="514"/>
                  </a:cubicBezTo>
                  <a:close/>
                  <a:moveTo>
                    <a:pt x="445" y="112"/>
                  </a:moveTo>
                  <a:cubicBezTo>
                    <a:pt x="445" y="112"/>
                    <a:pt x="445" y="112"/>
                    <a:pt x="445" y="112"/>
                  </a:cubicBezTo>
                  <a:cubicBezTo>
                    <a:pt x="443" y="110"/>
                    <a:pt x="441" y="108"/>
                    <a:pt x="440" y="106"/>
                  </a:cubicBezTo>
                  <a:cubicBezTo>
                    <a:pt x="429" y="114"/>
                    <a:pt x="418" y="121"/>
                    <a:pt x="407" y="127"/>
                  </a:cubicBezTo>
                  <a:cubicBezTo>
                    <a:pt x="422" y="167"/>
                    <a:pt x="431" y="214"/>
                    <a:pt x="433" y="266"/>
                  </a:cubicBezTo>
                  <a:cubicBezTo>
                    <a:pt x="514" y="266"/>
                    <a:pt x="514" y="266"/>
                    <a:pt x="514" y="266"/>
                  </a:cubicBezTo>
                  <a:cubicBezTo>
                    <a:pt x="511" y="206"/>
                    <a:pt x="485" y="152"/>
                    <a:pt x="445" y="112"/>
                  </a:cubicBezTo>
                  <a:close/>
                  <a:moveTo>
                    <a:pt x="419" y="89"/>
                  </a:moveTo>
                  <a:cubicBezTo>
                    <a:pt x="419" y="89"/>
                    <a:pt x="419" y="89"/>
                    <a:pt x="419" y="89"/>
                  </a:cubicBezTo>
                  <a:cubicBezTo>
                    <a:pt x="404" y="78"/>
                    <a:pt x="388" y="69"/>
                    <a:pt x="371" y="62"/>
                  </a:cubicBezTo>
                  <a:cubicBezTo>
                    <a:pt x="378" y="70"/>
                    <a:pt x="384" y="80"/>
                    <a:pt x="390" y="90"/>
                  </a:cubicBezTo>
                  <a:cubicBezTo>
                    <a:pt x="392" y="95"/>
                    <a:pt x="394" y="99"/>
                    <a:pt x="397" y="104"/>
                  </a:cubicBezTo>
                  <a:cubicBezTo>
                    <a:pt x="404" y="99"/>
                    <a:pt x="412" y="94"/>
                    <a:pt x="419" y="89"/>
                  </a:cubicBezTo>
                  <a:close/>
                  <a:moveTo>
                    <a:pt x="318" y="46"/>
                  </a:moveTo>
                  <a:cubicBezTo>
                    <a:pt x="318" y="46"/>
                    <a:pt x="318" y="46"/>
                    <a:pt x="318" y="46"/>
                  </a:cubicBezTo>
                  <a:cubicBezTo>
                    <a:pt x="309" y="45"/>
                    <a:pt x="300" y="44"/>
                    <a:pt x="292" y="43"/>
                  </a:cubicBezTo>
                  <a:cubicBezTo>
                    <a:pt x="292" y="133"/>
                    <a:pt x="292" y="133"/>
                    <a:pt x="292" y="133"/>
                  </a:cubicBezTo>
                  <a:cubicBezTo>
                    <a:pt x="317" y="132"/>
                    <a:pt x="341" y="127"/>
                    <a:pt x="364" y="119"/>
                  </a:cubicBezTo>
                  <a:cubicBezTo>
                    <a:pt x="367" y="117"/>
                    <a:pt x="370" y="116"/>
                    <a:pt x="373" y="115"/>
                  </a:cubicBezTo>
                  <a:cubicBezTo>
                    <a:pt x="372" y="111"/>
                    <a:pt x="369" y="107"/>
                    <a:pt x="367" y="103"/>
                  </a:cubicBezTo>
                  <a:cubicBezTo>
                    <a:pt x="353" y="77"/>
                    <a:pt x="336" y="58"/>
                    <a:pt x="318" y="46"/>
                  </a:cubicBezTo>
                  <a:close/>
                  <a:moveTo>
                    <a:pt x="266" y="43"/>
                  </a:moveTo>
                  <a:cubicBezTo>
                    <a:pt x="266" y="43"/>
                    <a:pt x="266" y="43"/>
                    <a:pt x="266" y="43"/>
                  </a:cubicBezTo>
                  <a:cubicBezTo>
                    <a:pt x="257" y="44"/>
                    <a:pt x="248" y="45"/>
                    <a:pt x="240" y="46"/>
                  </a:cubicBezTo>
                  <a:cubicBezTo>
                    <a:pt x="221" y="58"/>
                    <a:pt x="204" y="77"/>
                    <a:pt x="190" y="103"/>
                  </a:cubicBezTo>
                  <a:cubicBezTo>
                    <a:pt x="188" y="107"/>
                    <a:pt x="186" y="111"/>
                    <a:pt x="184" y="115"/>
                  </a:cubicBezTo>
                  <a:cubicBezTo>
                    <a:pt x="187" y="116"/>
                    <a:pt x="190" y="117"/>
                    <a:pt x="194" y="119"/>
                  </a:cubicBezTo>
                  <a:cubicBezTo>
                    <a:pt x="216" y="127"/>
                    <a:pt x="240" y="132"/>
                    <a:pt x="266" y="133"/>
                  </a:cubicBezTo>
                  <a:cubicBezTo>
                    <a:pt x="266" y="43"/>
                    <a:pt x="266" y="43"/>
                    <a:pt x="266" y="43"/>
                  </a:cubicBezTo>
                  <a:close/>
                  <a:moveTo>
                    <a:pt x="186" y="62"/>
                  </a:moveTo>
                  <a:cubicBezTo>
                    <a:pt x="186" y="62"/>
                    <a:pt x="186" y="62"/>
                    <a:pt x="186" y="62"/>
                  </a:cubicBezTo>
                  <a:cubicBezTo>
                    <a:pt x="169" y="69"/>
                    <a:pt x="153" y="78"/>
                    <a:pt x="138" y="89"/>
                  </a:cubicBezTo>
                  <a:cubicBezTo>
                    <a:pt x="145" y="94"/>
                    <a:pt x="153" y="99"/>
                    <a:pt x="161" y="104"/>
                  </a:cubicBezTo>
                  <a:cubicBezTo>
                    <a:pt x="163" y="99"/>
                    <a:pt x="165" y="95"/>
                    <a:pt x="167" y="90"/>
                  </a:cubicBezTo>
                  <a:cubicBezTo>
                    <a:pt x="173" y="80"/>
                    <a:pt x="179" y="70"/>
                    <a:pt x="186" y="62"/>
                  </a:cubicBezTo>
                  <a:close/>
                  <a:moveTo>
                    <a:pt x="118" y="106"/>
                  </a:moveTo>
                  <a:cubicBezTo>
                    <a:pt x="118" y="106"/>
                    <a:pt x="118" y="106"/>
                    <a:pt x="118" y="106"/>
                  </a:cubicBezTo>
                  <a:cubicBezTo>
                    <a:pt x="116" y="108"/>
                    <a:pt x="114" y="110"/>
                    <a:pt x="112" y="112"/>
                  </a:cubicBezTo>
                  <a:cubicBezTo>
                    <a:pt x="72" y="152"/>
                    <a:pt x="47" y="206"/>
                    <a:pt x="43" y="266"/>
                  </a:cubicBezTo>
                  <a:cubicBezTo>
                    <a:pt x="125" y="266"/>
                    <a:pt x="125" y="266"/>
                    <a:pt x="125" y="266"/>
                  </a:cubicBezTo>
                  <a:cubicBezTo>
                    <a:pt x="126" y="214"/>
                    <a:pt x="135" y="167"/>
                    <a:pt x="151" y="127"/>
                  </a:cubicBezTo>
                  <a:cubicBezTo>
                    <a:pt x="139" y="121"/>
                    <a:pt x="128" y="114"/>
                    <a:pt x="118" y="106"/>
                  </a:cubicBezTo>
                  <a:close/>
                  <a:moveTo>
                    <a:pt x="43" y="291"/>
                  </a:moveTo>
                  <a:cubicBezTo>
                    <a:pt x="43" y="291"/>
                    <a:pt x="43" y="291"/>
                    <a:pt x="43" y="291"/>
                  </a:cubicBezTo>
                  <a:cubicBezTo>
                    <a:pt x="47" y="351"/>
                    <a:pt x="72" y="405"/>
                    <a:pt x="112" y="445"/>
                  </a:cubicBezTo>
                  <a:cubicBezTo>
                    <a:pt x="118" y="451"/>
                    <a:pt x="118" y="451"/>
                    <a:pt x="118" y="451"/>
                  </a:cubicBezTo>
                  <a:cubicBezTo>
                    <a:pt x="128" y="443"/>
                    <a:pt x="139" y="436"/>
                    <a:pt x="151" y="430"/>
                  </a:cubicBezTo>
                  <a:cubicBezTo>
                    <a:pt x="135" y="390"/>
                    <a:pt x="126" y="343"/>
                    <a:pt x="125" y="291"/>
                  </a:cubicBezTo>
                  <a:cubicBezTo>
                    <a:pt x="43" y="291"/>
                    <a:pt x="43" y="291"/>
                    <a:pt x="43" y="291"/>
                  </a:cubicBezTo>
                  <a:close/>
                  <a:moveTo>
                    <a:pt x="138" y="468"/>
                  </a:moveTo>
                  <a:cubicBezTo>
                    <a:pt x="138" y="468"/>
                    <a:pt x="138" y="468"/>
                    <a:pt x="138" y="468"/>
                  </a:cubicBezTo>
                  <a:cubicBezTo>
                    <a:pt x="153" y="479"/>
                    <a:pt x="169" y="488"/>
                    <a:pt x="186" y="495"/>
                  </a:cubicBezTo>
                  <a:cubicBezTo>
                    <a:pt x="179" y="487"/>
                    <a:pt x="173" y="477"/>
                    <a:pt x="167" y="466"/>
                  </a:cubicBezTo>
                  <a:cubicBezTo>
                    <a:pt x="165" y="462"/>
                    <a:pt x="163" y="458"/>
                    <a:pt x="161" y="454"/>
                  </a:cubicBezTo>
                  <a:cubicBezTo>
                    <a:pt x="153" y="458"/>
                    <a:pt x="145" y="463"/>
                    <a:pt x="138" y="468"/>
                  </a:cubicBezTo>
                  <a:close/>
                  <a:moveTo>
                    <a:pt x="292" y="514"/>
                  </a:moveTo>
                  <a:cubicBezTo>
                    <a:pt x="292" y="514"/>
                    <a:pt x="292" y="514"/>
                    <a:pt x="292" y="514"/>
                  </a:cubicBezTo>
                  <a:cubicBezTo>
                    <a:pt x="300" y="513"/>
                    <a:pt x="309" y="512"/>
                    <a:pt x="318" y="511"/>
                  </a:cubicBezTo>
                  <a:cubicBezTo>
                    <a:pt x="336" y="499"/>
                    <a:pt x="353" y="480"/>
                    <a:pt x="367" y="454"/>
                  </a:cubicBezTo>
                  <a:cubicBezTo>
                    <a:pt x="369" y="450"/>
                    <a:pt x="372" y="446"/>
                    <a:pt x="373" y="442"/>
                  </a:cubicBezTo>
                  <a:cubicBezTo>
                    <a:pt x="370" y="441"/>
                    <a:pt x="367" y="440"/>
                    <a:pt x="364" y="439"/>
                  </a:cubicBezTo>
                  <a:cubicBezTo>
                    <a:pt x="341" y="430"/>
                    <a:pt x="317" y="425"/>
                    <a:pt x="292" y="424"/>
                  </a:cubicBezTo>
                  <a:cubicBezTo>
                    <a:pt x="292" y="514"/>
                    <a:pt x="292" y="514"/>
                    <a:pt x="292" y="514"/>
                  </a:cubicBezTo>
                  <a:close/>
                  <a:moveTo>
                    <a:pt x="371" y="495"/>
                  </a:moveTo>
                  <a:cubicBezTo>
                    <a:pt x="371" y="495"/>
                    <a:pt x="371" y="495"/>
                    <a:pt x="371" y="495"/>
                  </a:cubicBezTo>
                  <a:cubicBezTo>
                    <a:pt x="388" y="488"/>
                    <a:pt x="404" y="479"/>
                    <a:pt x="419" y="468"/>
                  </a:cubicBezTo>
                  <a:cubicBezTo>
                    <a:pt x="412" y="463"/>
                    <a:pt x="404" y="458"/>
                    <a:pt x="397" y="454"/>
                  </a:cubicBezTo>
                  <a:cubicBezTo>
                    <a:pt x="394" y="458"/>
                    <a:pt x="392" y="462"/>
                    <a:pt x="390" y="466"/>
                  </a:cubicBezTo>
                  <a:cubicBezTo>
                    <a:pt x="384" y="477"/>
                    <a:pt x="378" y="487"/>
                    <a:pt x="371" y="495"/>
                  </a:cubicBezTo>
                  <a:close/>
                  <a:moveTo>
                    <a:pt x="440" y="451"/>
                  </a:moveTo>
                  <a:cubicBezTo>
                    <a:pt x="440" y="451"/>
                    <a:pt x="440" y="451"/>
                    <a:pt x="440" y="451"/>
                  </a:cubicBezTo>
                  <a:cubicBezTo>
                    <a:pt x="445" y="445"/>
                    <a:pt x="445" y="445"/>
                    <a:pt x="445" y="445"/>
                  </a:cubicBezTo>
                  <a:cubicBezTo>
                    <a:pt x="485" y="405"/>
                    <a:pt x="511" y="351"/>
                    <a:pt x="514" y="291"/>
                  </a:cubicBezTo>
                  <a:cubicBezTo>
                    <a:pt x="433" y="291"/>
                    <a:pt x="433" y="291"/>
                    <a:pt x="433" y="291"/>
                  </a:cubicBezTo>
                  <a:cubicBezTo>
                    <a:pt x="431" y="343"/>
                    <a:pt x="422" y="390"/>
                    <a:pt x="407" y="430"/>
                  </a:cubicBezTo>
                  <a:cubicBezTo>
                    <a:pt x="418" y="436"/>
                    <a:pt x="429" y="443"/>
                    <a:pt x="440" y="451"/>
                  </a:cubicBezTo>
                  <a:close/>
                  <a:moveTo>
                    <a:pt x="384" y="138"/>
                  </a:moveTo>
                  <a:cubicBezTo>
                    <a:pt x="384" y="138"/>
                    <a:pt x="384" y="138"/>
                    <a:pt x="384" y="138"/>
                  </a:cubicBezTo>
                  <a:cubicBezTo>
                    <a:pt x="380" y="140"/>
                    <a:pt x="376" y="141"/>
                    <a:pt x="373" y="142"/>
                  </a:cubicBezTo>
                  <a:cubicBezTo>
                    <a:pt x="347" y="152"/>
                    <a:pt x="320" y="158"/>
                    <a:pt x="292" y="159"/>
                  </a:cubicBezTo>
                  <a:cubicBezTo>
                    <a:pt x="292" y="266"/>
                    <a:pt x="292" y="266"/>
                    <a:pt x="292" y="266"/>
                  </a:cubicBezTo>
                  <a:cubicBezTo>
                    <a:pt x="407" y="266"/>
                    <a:pt x="407" y="266"/>
                    <a:pt x="407" y="266"/>
                  </a:cubicBezTo>
                  <a:cubicBezTo>
                    <a:pt x="406" y="218"/>
                    <a:pt x="397" y="175"/>
                    <a:pt x="384" y="138"/>
                  </a:cubicBezTo>
                  <a:close/>
                  <a:moveTo>
                    <a:pt x="266" y="159"/>
                  </a:moveTo>
                  <a:cubicBezTo>
                    <a:pt x="266" y="159"/>
                    <a:pt x="266" y="159"/>
                    <a:pt x="266" y="159"/>
                  </a:cubicBezTo>
                  <a:cubicBezTo>
                    <a:pt x="237" y="158"/>
                    <a:pt x="210" y="152"/>
                    <a:pt x="185" y="142"/>
                  </a:cubicBezTo>
                  <a:cubicBezTo>
                    <a:pt x="181" y="141"/>
                    <a:pt x="177" y="140"/>
                    <a:pt x="174" y="138"/>
                  </a:cubicBezTo>
                  <a:cubicBezTo>
                    <a:pt x="160" y="175"/>
                    <a:pt x="151" y="218"/>
                    <a:pt x="150" y="266"/>
                  </a:cubicBezTo>
                  <a:cubicBezTo>
                    <a:pt x="266" y="266"/>
                    <a:pt x="266" y="266"/>
                    <a:pt x="266" y="266"/>
                  </a:cubicBezTo>
                  <a:cubicBezTo>
                    <a:pt x="266" y="159"/>
                    <a:pt x="266" y="159"/>
                    <a:pt x="266" y="159"/>
                  </a:cubicBezTo>
                  <a:close/>
                  <a:moveTo>
                    <a:pt x="266" y="398"/>
                  </a:moveTo>
                  <a:cubicBezTo>
                    <a:pt x="266" y="398"/>
                    <a:pt x="266" y="398"/>
                    <a:pt x="266" y="398"/>
                  </a:cubicBezTo>
                  <a:cubicBezTo>
                    <a:pt x="266" y="291"/>
                    <a:pt x="266" y="291"/>
                    <a:pt x="266" y="291"/>
                  </a:cubicBezTo>
                  <a:cubicBezTo>
                    <a:pt x="150" y="291"/>
                    <a:pt x="150" y="291"/>
                    <a:pt x="150" y="291"/>
                  </a:cubicBezTo>
                  <a:cubicBezTo>
                    <a:pt x="151" y="339"/>
                    <a:pt x="160" y="382"/>
                    <a:pt x="174" y="419"/>
                  </a:cubicBezTo>
                  <a:cubicBezTo>
                    <a:pt x="177" y="417"/>
                    <a:pt x="181" y="416"/>
                    <a:pt x="185" y="415"/>
                  </a:cubicBezTo>
                  <a:cubicBezTo>
                    <a:pt x="210" y="405"/>
                    <a:pt x="237" y="399"/>
                    <a:pt x="266" y="398"/>
                  </a:cubicBezTo>
                  <a:close/>
                  <a:moveTo>
                    <a:pt x="292" y="398"/>
                  </a:moveTo>
                  <a:cubicBezTo>
                    <a:pt x="292" y="398"/>
                    <a:pt x="292" y="398"/>
                    <a:pt x="292" y="398"/>
                  </a:cubicBezTo>
                  <a:cubicBezTo>
                    <a:pt x="320" y="399"/>
                    <a:pt x="347" y="405"/>
                    <a:pt x="373" y="415"/>
                  </a:cubicBezTo>
                  <a:cubicBezTo>
                    <a:pt x="376" y="416"/>
                    <a:pt x="380" y="417"/>
                    <a:pt x="384" y="419"/>
                  </a:cubicBezTo>
                  <a:cubicBezTo>
                    <a:pt x="397" y="382"/>
                    <a:pt x="406" y="339"/>
                    <a:pt x="407" y="291"/>
                  </a:cubicBezTo>
                  <a:cubicBezTo>
                    <a:pt x="292" y="291"/>
                    <a:pt x="292" y="291"/>
                    <a:pt x="292" y="291"/>
                  </a:cubicBezTo>
                  <a:cubicBezTo>
                    <a:pt x="292" y="398"/>
                    <a:pt x="292" y="398"/>
                    <a:pt x="292" y="3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grpSp>
      <p:grpSp>
        <p:nvGrpSpPr>
          <p:cNvPr id="147" name="组合 114"/>
          <p:cNvGrpSpPr/>
          <p:nvPr/>
        </p:nvGrpSpPr>
        <p:grpSpPr>
          <a:xfrm>
            <a:off x="4290756" y="6620922"/>
            <a:ext cx="506396" cy="139437"/>
            <a:chOff x="7616840" y="5594364"/>
            <a:chExt cx="523876" cy="433389"/>
          </a:xfrm>
          <a:solidFill>
            <a:schemeClr val="bg1"/>
          </a:solidFill>
        </p:grpSpPr>
        <p:sp>
          <p:nvSpPr>
            <p:cNvPr id="148" name="Rectangle 51"/>
            <p:cNvSpPr>
              <a:spLocks noChangeArrowheads="1"/>
            </p:cNvSpPr>
            <p:nvPr/>
          </p:nvSpPr>
          <p:spPr bwMode="auto">
            <a:xfrm>
              <a:off x="7923228" y="5884878"/>
              <a:ext cx="36513" cy="141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52" name="Freeform 52"/>
            <p:cNvSpPr>
              <a:spLocks noEditPoints="1"/>
            </p:cNvSpPr>
            <p:nvPr/>
          </p:nvSpPr>
          <p:spPr bwMode="auto">
            <a:xfrm>
              <a:off x="7972441" y="5907103"/>
              <a:ext cx="80963" cy="120650"/>
            </a:xfrm>
            <a:custGeom>
              <a:avLst/>
              <a:gdLst>
                <a:gd name="T0" fmla="*/ 214 w 237"/>
                <a:gd name="T1" fmla="*/ 37 h 352"/>
                <a:gd name="T2" fmla="*/ 175 w 237"/>
                <a:gd name="T3" fmla="*/ 10 h 352"/>
                <a:gd name="T4" fmla="*/ 115 w 237"/>
                <a:gd name="T5" fmla="*/ 0 h 352"/>
                <a:gd name="T6" fmla="*/ 47 w 237"/>
                <a:gd name="T7" fmla="*/ 16 h 352"/>
                <a:gd name="T8" fmla="*/ 10 w 237"/>
                <a:gd name="T9" fmla="*/ 59 h 352"/>
                <a:gd name="T10" fmla="*/ 0 w 237"/>
                <a:gd name="T11" fmla="*/ 133 h 352"/>
                <a:gd name="T12" fmla="*/ 0 w 237"/>
                <a:gd name="T13" fmla="*/ 220 h 352"/>
                <a:gd name="T14" fmla="*/ 6 w 237"/>
                <a:gd name="T15" fmla="*/ 285 h 352"/>
                <a:gd name="T16" fmla="*/ 25 w 237"/>
                <a:gd name="T17" fmla="*/ 322 h 352"/>
                <a:gd name="T18" fmla="*/ 62 w 237"/>
                <a:gd name="T19" fmla="*/ 344 h 352"/>
                <a:gd name="T20" fmla="*/ 120 w 237"/>
                <a:gd name="T21" fmla="*/ 352 h 352"/>
                <a:gd name="T22" fmla="*/ 174 w 237"/>
                <a:gd name="T23" fmla="*/ 343 h 352"/>
                <a:gd name="T24" fmla="*/ 213 w 237"/>
                <a:gd name="T25" fmla="*/ 316 h 352"/>
                <a:gd name="T26" fmla="*/ 233 w 237"/>
                <a:gd name="T27" fmla="*/ 276 h 352"/>
                <a:gd name="T28" fmla="*/ 237 w 237"/>
                <a:gd name="T29" fmla="*/ 209 h 352"/>
                <a:gd name="T30" fmla="*/ 237 w 237"/>
                <a:gd name="T31" fmla="*/ 125 h 352"/>
                <a:gd name="T32" fmla="*/ 232 w 237"/>
                <a:gd name="T33" fmla="*/ 72 h 352"/>
                <a:gd name="T34" fmla="*/ 214 w 237"/>
                <a:gd name="T35" fmla="*/ 37 h 352"/>
                <a:gd name="T36" fmla="*/ 134 w 237"/>
                <a:gd name="T37" fmla="*/ 257 h 352"/>
                <a:gd name="T38" fmla="*/ 131 w 237"/>
                <a:gd name="T39" fmla="*/ 285 h 352"/>
                <a:gd name="T40" fmla="*/ 119 w 237"/>
                <a:gd name="T41" fmla="*/ 292 h 352"/>
                <a:gd name="T42" fmla="*/ 107 w 237"/>
                <a:gd name="T43" fmla="*/ 285 h 352"/>
                <a:gd name="T44" fmla="*/ 104 w 237"/>
                <a:gd name="T45" fmla="*/ 253 h 352"/>
                <a:gd name="T46" fmla="*/ 104 w 237"/>
                <a:gd name="T47" fmla="*/ 100 h 352"/>
                <a:gd name="T48" fmla="*/ 107 w 237"/>
                <a:gd name="T49" fmla="*/ 67 h 352"/>
                <a:gd name="T50" fmla="*/ 119 w 237"/>
                <a:gd name="T51" fmla="*/ 60 h 352"/>
                <a:gd name="T52" fmla="*/ 131 w 237"/>
                <a:gd name="T53" fmla="*/ 67 h 352"/>
                <a:gd name="T54" fmla="*/ 134 w 237"/>
                <a:gd name="T55" fmla="*/ 100 h 352"/>
                <a:gd name="T56" fmla="*/ 134 w 237"/>
                <a:gd name="T57" fmla="*/ 25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7" h="352">
                  <a:moveTo>
                    <a:pt x="214" y="37"/>
                  </a:moveTo>
                  <a:cubicBezTo>
                    <a:pt x="205" y="26"/>
                    <a:pt x="192" y="17"/>
                    <a:pt x="175" y="10"/>
                  </a:cubicBezTo>
                  <a:cubicBezTo>
                    <a:pt x="159" y="3"/>
                    <a:pt x="139" y="0"/>
                    <a:pt x="115" y="0"/>
                  </a:cubicBezTo>
                  <a:cubicBezTo>
                    <a:pt x="88" y="0"/>
                    <a:pt x="65" y="5"/>
                    <a:pt x="47" y="16"/>
                  </a:cubicBezTo>
                  <a:cubicBezTo>
                    <a:pt x="30" y="27"/>
                    <a:pt x="17" y="41"/>
                    <a:pt x="10" y="59"/>
                  </a:cubicBezTo>
                  <a:cubicBezTo>
                    <a:pt x="4" y="77"/>
                    <a:pt x="0" y="101"/>
                    <a:pt x="0" y="133"/>
                  </a:cubicBezTo>
                  <a:cubicBezTo>
                    <a:pt x="0" y="220"/>
                    <a:pt x="0" y="220"/>
                    <a:pt x="0" y="220"/>
                  </a:cubicBezTo>
                  <a:cubicBezTo>
                    <a:pt x="0" y="249"/>
                    <a:pt x="2" y="270"/>
                    <a:pt x="6" y="285"/>
                  </a:cubicBezTo>
                  <a:cubicBezTo>
                    <a:pt x="10" y="299"/>
                    <a:pt x="16" y="312"/>
                    <a:pt x="25" y="322"/>
                  </a:cubicBezTo>
                  <a:cubicBezTo>
                    <a:pt x="33" y="332"/>
                    <a:pt x="46" y="339"/>
                    <a:pt x="62" y="344"/>
                  </a:cubicBezTo>
                  <a:cubicBezTo>
                    <a:pt x="78" y="350"/>
                    <a:pt x="97" y="352"/>
                    <a:pt x="120" y="352"/>
                  </a:cubicBezTo>
                  <a:cubicBezTo>
                    <a:pt x="140" y="352"/>
                    <a:pt x="158" y="349"/>
                    <a:pt x="174" y="343"/>
                  </a:cubicBezTo>
                  <a:cubicBezTo>
                    <a:pt x="190" y="337"/>
                    <a:pt x="203" y="328"/>
                    <a:pt x="213" y="316"/>
                  </a:cubicBezTo>
                  <a:cubicBezTo>
                    <a:pt x="223" y="303"/>
                    <a:pt x="230" y="290"/>
                    <a:pt x="233" y="276"/>
                  </a:cubicBezTo>
                  <a:cubicBezTo>
                    <a:pt x="236" y="262"/>
                    <a:pt x="237" y="239"/>
                    <a:pt x="237" y="209"/>
                  </a:cubicBezTo>
                  <a:cubicBezTo>
                    <a:pt x="237" y="125"/>
                    <a:pt x="237" y="125"/>
                    <a:pt x="237" y="125"/>
                  </a:cubicBezTo>
                  <a:cubicBezTo>
                    <a:pt x="237" y="101"/>
                    <a:pt x="236" y="83"/>
                    <a:pt x="232" y="72"/>
                  </a:cubicBezTo>
                  <a:cubicBezTo>
                    <a:pt x="229" y="60"/>
                    <a:pt x="223" y="48"/>
                    <a:pt x="214" y="37"/>
                  </a:cubicBezTo>
                  <a:close/>
                  <a:moveTo>
                    <a:pt x="134" y="257"/>
                  </a:moveTo>
                  <a:cubicBezTo>
                    <a:pt x="134" y="271"/>
                    <a:pt x="133" y="281"/>
                    <a:pt x="131" y="285"/>
                  </a:cubicBezTo>
                  <a:cubicBezTo>
                    <a:pt x="129" y="290"/>
                    <a:pt x="125" y="292"/>
                    <a:pt x="119" y="292"/>
                  </a:cubicBezTo>
                  <a:cubicBezTo>
                    <a:pt x="113" y="292"/>
                    <a:pt x="109" y="289"/>
                    <a:pt x="107" y="285"/>
                  </a:cubicBezTo>
                  <a:cubicBezTo>
                    <a:pt x="105" y="280"/>
                    <a:pt x="104" y="269"/>
                    <a:pt x="104" y="253"/>
                  </a:cubicBezTo>
                  <a:cubicBezTo>
                    <a:pt x="104" y="100"/>
                    <a:pt x="104" y="100"/>
                    <a:pt x="104" y="100"/>
                  </a:cubicBezTo>
                  <a:cubicBezTo>
                    <a:pt x="104" y="82"/>
                    <a:pt x="105" y="71"/>
                    <a:pt x="107" y="67"/>
                  </a:cubicBezTo>
                  <a:cubicBezTo>
                    <a:pt x="109" y="62"/>
                    <a:pt x="113" y="60"/>
                    <a:pt x="119" y="60"/>
                  </a:cubicBezTo>
                  <a:cubicBezTo>
                    <a:pt x="125" y="60"/>
                    <a:pt x="129" y="62"/>
                    <a:pt x="131" y="67"/>
                  </a:cubicBezTo>
                  <a:cubicBezTo>
                    <a:pt x="133" y="71"/>
                    <a:pt x="134" y="82"/>
                    <a:pt x="134" y="100"/>
                  </a:cubicBezTo>
                  <a:lnTo>
                    <a:pt x="134" y="2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53" name="Freeform 53"/>
            <p:cNvSpPr>
              <a:spLocks/>
            </p:cNvSpPr>
            <p:nvPr/>
          </p:nvSpPr>
          <p:spPr bwMode="auto">
            <a:xfrm>
              <a:off x="8059753" y="5884878"/>
              <a:ext cx="80963" cy="141288"/>
            </a:xfrm>
            <a:custGeom>
              <a:avLst/>
              <a:gdLst>
                <a:gd name="T0" fmla="*/ 0 w 51"/>
                <a:gd name="T1" fmla="*/ 0 h 89"/>
                <a:gd name="T2" fmla="*/ 0 w 51"/>
                <a:gd name="T3" fmla="*/ 17 h 89"/>
                <a:gd name="T4" fmla="*/ 14 w 51"/>
                <a:gd name="T5" fmla="*/ 17 h 89"/>
                <a:gd name="T6" fmla="*/ 14 w 51"/>
                <a:gd name="T7" fmla="*/ 89 h 89"/>
                <a:gd name="T8" fmla="*/ 37 w 51"/>
                <a:gd name="T9" fmla="*/ 89 h 89"/>
                <a:gd name="T10" fmla="*/ 37 w 51"/>
                <a:gd name="T11" fmla="*/ 17 h 89"/>
                <a:gd name="T12" fmla="*/ 51 w 51"/>
                <a:gd name="T13" fmla="*/ 17 h 89"/>
                <a:gd name="T14" fmla="*/ 51 w 51"/>
                <a:gd name="T15" fmla="*/ 0 h 89"/>
                <a:gd name="T16" fmla="*/ 0 w 51"/>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89">
                  <a:moveTo>
                    <a:pt x="0" y="0"/>
                  </a:moveTo>
                  <a:lnTo>
                    <a:pt x="0" y="17"/>
                  </a:lnTo>
                  <a:lnTo>
                    <a:pt x="14" y="17"/>
                  </a:lnTo>
                  <a:lnTo>
                    <a:pt x="14" y="89"/>
                  </a:lnTo>
                  <a:lnTo>
                    <a:pt x="37" y="89"/>
                  </a:lnTo>
                  <a:lnTo>
                    <a:pt x="37" y="17"/>
                  </a:lnTo>
                  <a:lnTo>
                    <a:pt x="51" y="17"/>
                  </a:lnTo>
                  <a:lnTo>
                    <a:pt x="51"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54" name="Freeform 54"/>
            <p:cNvSpPr>
              <a:spLocks noEditPoints="1"/>
            </p:cNvSpPr>
            <p:nvPr/>
          </p:nvSpPr>
          <p:spPr bwMode="auto">
            <a:xfrm>
              <a:off x="7616840" y="5594364"/>
              <a:ext cx="411163" cy="415926"/>
            </a:xfrm>
            <a:custGeom>
              <a:avLst/>
              <a:gdLst>
                <a:gd name="T0" fmla="*/ 811 w 1200"/>
                <a:gd name="T1" fmla="*/ 1126 h 1220"/>
                <a:gd name="T2" fmla="*/ 515 w 1200"/>
                <a:gd name="T3" fmla="*/ 1126 h 1220"/>
                <a:gd name="T4" fmla="*/ 515 w 1200"/>
                <a:gd name="T5" fmla="*/ 94 h 1220"/>
                <a:gd name="T6" fmla="*/ 1106 w 1200"/>
                <a:gd name="T7" fmla="*/ 94 h 1220"/>
                <a:gd name="T8" fmla="*/ 1106 w 1200"/>
                <a:gd name="T9" fmla="*/ 796 h 1220"/>
                <a:gd name="T10" fmla="*/ 1200 w 1200"/>
                <a:gd name="T11" fmla="*/ 796 h 1220"/>
                <a:gd name="T12" fmla="*/ 1200 w 1200"/>
                <a:gd name="T13" fmla="*/ 47 h 1220"/>
                <a:gd name="T14" fmla="*/ 1153 w 1200"/>
                <a:gd name="T15" fmla="*/ 0 h 1220"/>
                <a:gd name="T16" fmla="*/ 468 w 1200"/>
                <a:gd name="T17" fmla="*/ 0 h 1220"/>
                <a:gd name="T18" fmla="*/ 421 w 1200"/>
                <a:gd name="T19" fmla="*/ 47 h 1220"/>
                <a:gd name="T20" fmla="*/ 421 w 1200"/>
                <a:gd name="T21" fmla="*/ 459 h 1220"/>
                <a:gd name="T22" fmla="*/ 46 w 1200"/>
                <a:gd name="T23" fmla="*/ 459 h 1220"/>
                <a:gd name="T24" fmla="*/ 0 w 1200"/>
                <a:gd name="T25" fmla="*/ 506 h 1220"/>
                <a:gd name="T26" fmla="*/ 0 w 1200"/>
                <a:gd name="T27" fmla="*/ 1173 h 1220"/>
                <a:gd name="T28" fmla="*/ 46 w 1200"/>
                <a:gd name="T29" fmla="*/ 1220 h 1220"/>
                <a:gd name="T30" fmla="*/ 811 w 1200"/>
                <a:gd name="T31" fmla="*/ 1220 h 1220"/>
                <a:gd name="T32" fmla="*/ 811 w 1200"/>
                <a:gd name="T33" fmla="*/ 1126 h 1220"/>
                <a:gd name="T34" fmla="*/ 421 w 1200"/>
                <a:gd name="T35" fmla="*/ 1126 h 1220"/>
                <a:gd name="T36" fmla="*/ 94 w 1200"/>
                <a:gd name="T37" fmla="*/ 1126 h 1220"/>
                <a:gd name="T38" fmla="*/ 94 w 1200"/>
                <a:gd name="T39" fmla="*/ 553 h 1220"/>
                <a:gd name="T40" fmla="*/ 421 w 1200"/>
                <a:gd name="T41" fmla="*/ 553 h 1220"/>
                <a:gd name="T42" fmla="*/ 421 w 1200"/>
                <a:gd name="T43" fmla="*/ 112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00" h="1220">
                  <a:moveTo>
                    <a:pt x="811" y="1126"/>
                  </a:moveTo>
                  <a:cubicBezTo>
                    <a:pt x="515" y="1126"/>
                    <a:pt x="515" y="1126"/>
                    <a:pt x="515" y="1126"/>
                  </a:cubicBezTo>
                  <a:cubicBezTo>
                    <a:pt x="515" y="94"/>
                    <a:pt x="515" y="94"/>
                    <a:pt x="515" y="94"/>
                  </a:cubicBezTo>
                  <a:cubicBezTo>
                    <a:pt x="1106" y="94"/>
                    <a:pt x="1106" y="94"/>
                    <a:pt x="1106" y="94"/>
                  </a:cubicBezTo>
                  <a:cubicBezTo>
                    <a:pt x="1106" y="796"/>
                    <a:pt x="1106" y="796"/>
                    <a:pt x="1106" y="796"/>
                  </a:cubicBezTo>
                  <a:cubicBezTo>
                    <a:pt x="1200" y="796"/>
                    <a:pt x="1200" y="796"/>
                    <a:pt x="1200" y="796"/>
                  </a:cubicBezTo>
                  <a:cubicBezTo>
                    <a:pt x="1200" y="47"/>
                    <a:pt x="1200" y="47"/>
                    <a:pt x="1200" y="47"/>
                  </a:cubicBezTo>
                  <a:cubicBezTo>
                    <a:pt x="1200" y="21"/>
                    <a:pt x="1179" y="0"/>
                    <a:pt x="1153" y="0"/>
                  </a:cubicBezTo>
                  <a:cubicBezTo>
                    <a:pt x="468" y="0"/>
                    <a:pt x="468" y="0"/>
                    <a:pt x="468" y="0"/>
                  </a:cubicBezTo>
                  <a:cubicBezTo>
                    <a:pt x="442" y="0"/>
                    <a:pt x="421" y="21"/>
                    <a:pt x="421" y="47"/>
                  </a:cubicBezTo>
                  <a:cubicBezTo>
                    <a:pt x="421" y="459"/>
                    <a:pt x="421" y="459"/>
                    <a:pt x="421" y="459"/>
                  </a:cubicBezTo>
                  <a:cubicBezTo>
                    <a:pt x="46" y="459"/>
                    <a:pt x="46" y="459"/>
                    <a:pt x="46" y="459"/>
                  </a:cubicBezTo>
                  <a:cubicBezTo>
                    <a:pt x="21" y="459"/>
                    <a:pt x="0" y="480"/>
                    <a:pt x="0" y="506"/>
                  </a:cubicBezTo>
                  <a:cubicBezTo>
                    <a:pt x="0" y="1173"/>
                    <a:pt x="0" y="1173"/>
                    <a:pt x="0" y="1173"/>
                  </a:cubicBezTo>
                  <a:cubicBezTo>
                    <a:pt x="0" y="1199"/>
                    <a:pt x="21" y="1220"/>
                    <a:pt x="46" y="1220"/>
                  </a:cubicBezTo>
                  <a:cubicBezTo>
                    <a:pt x="811" y="1220"/>
                    <a:pt x="811" y="1220"/>
                    <a:pt x="811" y="1220"/>
                  </a:cubicBezTo>
                  <a:lnTo>
                    <a:pt x="811" y="1126"/>
                  </a:lnTo>
                  <a:close/>
                  <a:moveTo>
                    <a:pt x="421" y="1126"/>
                  </a:moveTo>
                  <a:cubicBezTo>
                    <a:pt x="94" y="1126"/>
                    <a:pt x="94" y="1126"/>
                    <a:pt x="94" y="1126"/>
                  </a:cubicBezTo>
                  <a:cubicBezTo>
                    <a:pt x="94" y="553"/>
                    <a:pt x="94" y="553"/>
                    <a:pt x="94" y="553"/>
                  </a:cubicBezTo>
                  <a:cubicBezTo>
                    <a:pt x="421" y="553"/>
                    <a:pt x="421" y="553"/>
                    <a:pt x="421" y="553"/>
                  </a:cubicBezTo>
                  <a:lnTo>
                    <a:pt x="421" y="11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55" name="Freeform 55"/>
            <p:cNvSpPr>
              <a:spLocks/>
            </p:cNvSpPr>
            <p:nvPr/>
          </p:nvSpPr>
          <p:spPr bwMode="auto">
            <a:xfrm>
              <a:off x="7664465" y="5826140"/>
              <a:ext cx="71438" cy="19050"/>
            </a:xfrm>
            <a:custGeom>
              <a:avLst/>
              <a:gdLst>
                <a:gd name="T0" fmla="*/ 28 w 212"/>
                <a:gd name="T1" fmla="*/ 56 h 56"/>
                <a:gd name="T2" fmla="*/ 184 w 212"/>
                <a:gd name="T3" fmla="*/ 56 h 56"/>
                <a:gd name="T4" fmla="*/ 212 w 212"/>
                <a:gd name="T5" fmla="*/ 28 h 56"/>
                <a:gd name="T6" fmla="*/ 184 w 212"/>
                <a:gd name="T7" fmla="*/ 0 h 56"/>
                <a:gd name="T8" fmla="*/ 28 w 212"/>
                <a:gd name="T9" fmla="*/ 0 h 56"/>
                <a:gd name="T10" fmla="*/ 0 w 212"/>
                <a:gd name="T11" fmla="*/ 28 h 56"/>
                <a:gd name="T12" fmla="*/ 28 w 212"/>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12" h="56">
                  <a:moveTo>
                    <a:pt x="28" y="56"/>
                  </a:moveTo>
                  <a:cubicBezTo>
                    <a:pt x="184" y="56"/>
                    <a:pt x="184" y="56"/>
                    <a:pt x="184" y="56"/>
                  </a:cubicBezTo>
                  <a:cubicBezTo>
                    <a:pt x="199" y="56"/>
                    <a:pt x="212" y="43"/>
                    <a:pt x="212" y="28"/>
                  </a:cubicBezTo>
                  <a:cubicBezTo>
                    <a:pt x="212" y="12"/>
                    <a:pt x="199" y="0"/>
                    <a:pt x="184" y="0"/>
                  </a:cubicBezTo>
                  <a:cubicBezTo>
                    <a:pt x="28" y="0"/>
                    <a:pt x="28" y="0"/>
                    <a:pt x="28" y="0"/>
                  </a:cubicBezTo>
                  <a:cubicBezTo>
                    <a:pt x="13" y="0"/>
                    <a:pt x="0" y="12"/>
                    <a:pt x="0" y="28"/>
                  </a:cubicBezTo>
                  <a:cubicBezTo>
                    <a:pt x="0" y="43"/>
                    <a:pt x="13" y="56"/>
                    <a:pt x="28" y="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56" name="Freeform 56"/>
            <p:cNvSpPr>
              <a:spLocks/>
            </p:cNvSpPr>
            <p:nvPr/>
          </p:nvSpPr>
          <p:spPr bwMode="auto">
            <a:xfrm>
              <a:off x="7908941" y="5748352"/>
              <a:ext cx="71438" cy="19050"/>
            </a:xfrm>
            <a:custGeom>
              <a:avLst/>
              <a:gdLst>
                <a:gd name="T0" fmla="*/ 27 w 211"/>
                <a:gd name="T1" fmla="*/ 56 h 56"/>
                <a:gd name="T2" fmla="*/ 183 w 211"/>
                <a:gd name="T3" fmla="*/ 56 h 56"/>
                <a:gd name="T4" fmla="*/ 211 w 211"/>
                <a:gd name="T5" fmla="*/ 28 h 56"/>
                <a:gd name="T6" fmla="*/ 183 w 211"/>
                <a:gd name="T7" fmla="*/ 0 h 56"/>
                <a:gd name="T8" fmla="*/ 27 w 211"/>
                <a:gd name="T9" fmla="*/ 0 h 56"/>
                <a:gd name="T10" fmla="*/ 0 w 211"/>
                <a:gd name="T11" fmla="*/ 28 h 56"/>
                <a:gd name="T12" fmla="*/ 27 w 211"/>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11" h="56">
                  <a:moveTo>
                    <a:pt x="27" y="56"/>
                  </a:moveTo>
                  <a:cubicBezTo>
                    <a:pt x="183" y="56"/>
                    <a:pt x="183" y="56"/>
                    <a:pt x="183" y="56"/>
                  </a:cubicBezTo>
                  <a:cubicBezTo>
                    <a:pt x="198" y="56"/>
                    <a:pt x="211" y="43"/>
                    <a:pt x="211" y="28"/>
                  </a:cubicBezTo>
                  <a:cubicBezTo>
                    <a:pt x="211" y="12"/>
                    <a:pt x="198" y="0"/>
                    <a:pt x="183" y="0"/>
                  </a:cubicBezTo>
                  <a:cubicBezTo>
                    <a:pt x="27" y="0"/>
                    <a:pt x="27" y="0"/>
                    <a:pt x="27" y="0"/>
                  </a:cubicBezTo>
                  <a:cubicBezTo>
                    <a:pt x="12" y="0"/>
                    <a:pt x="0" y="12"/>
                    <a:pt x="0" y="28"/>
                  </a:cubicBezTo>
                  <a:cubicBezTo>
                    <a:pt x="0" y="43"/>
                    <a:pt x="12" y="56"/>
                    <a:pt x="27" y="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57" name="Freeform 57"/>
            <p:cNvSpPr>
              <a:spLocks/>
            </p:cNvSpPr>
            <p:nvPr/>
          </p:nvSpPr>
          <p:spPr bwMode="auto">
            <a:xfrm>
              <a:off x="7664465" y="5902340"/>
              <a:ext cx="71438" cy="19050"/>
            </a:xfrm>
            <a:custGeom>
              <a:avLst/>
              <a:gdLst>
                <a:gd name="T0" fmla="*/ 28 w 212"/>
                <a:gd name="T1" fmla="*/ 57 h 57"/>
                <a:gd name="T2" fmla="*/ 184 w 212"/>
                <a:gd name="T3" fmla="*/ 57 h 57"/>
                <a:gd name="T4" fmla="*/ 212 w 212"/>
                <a:gd name="T5" fmla="*/ 29 h 57"/>
                <a:gd name="T6" fmla="*/ 184 w 212"/>
                <a:gd name="T7" fmla="*/ 0 h 57"/>
                <a:gd name="T8" fmla="*/ 28 w 212"/>
                <a:gd name="T9" fmla="*/ 0 h 57"/>
                <a:gd name="T10" fmla="*/ 0 w 212"/>
                <a:gd name="T11" fmla="*/ 29 h 57"/>
                <a:gd name="T12" fmla="*/ 28 w 212"/>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212" h="57">
                  <a:moveTo>
                    <a:pt x="28" y="57"/>
                  </a:moveTo>
                  <a:cubicBezTo>
                    <a:pt x="184" y="57"/>
                    <a:pt x="184" y="57"/>
                    <a:pt x="184" y="57"/>
                  </a:cubicBezTo>
                  <a:cubicBezTo>
                    <a:pt x="199" y="57"/>
                    <a:pt x="212" y="44"/>
                    <a:pt x="212" y="29"/>
                  </a:cubicBezTo>
                  <a:cubicBezTo>
                    <a:pt x="212" y="13"/>
                    <a:pt x="199" y="0"/>
                    <a:pt x="184" y="0"/>
                  </a:cubicBezTo>
                  <a:cubicBezTo>
                    <a:pt x="28" y="0"/>
                    <a:pt x="28" y="0"/>
                    <a:pt x="28" y="0"/>
                  </a:cubicBezTo>
                  <a:cubicBezTo>
                    <a:pt x="13" y="0"/>
                    <a:pt x="0" y="13"/>
                    <a:pt x="0" y="29"/>
                  </a:cubicBezTo>
                  <a:cubicBezTo>
                    <a:pt x="0" y="44"/>
                    <a:pt x="13" y="57"/>
                    <a:pt x="28" y="5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58" name="Freeform 58"/>
            <p:cNvSpPr>
              <a:spLocks/>
            </p:cNvSpPr>
            <p:nvPr/>
          </p:nvSpPr>
          <p:spPr bwMode="auto">
            <a:xfrm>
              <a:off x="7808928" y="5672152"/>
              <a:ext cx="73025" cy="19050"/>
            </a:xfrm>
            <a:custGeom>
              <a:avLst/>
              <a:gdLst>
                <a:gd name="T0" fmla="*/ 184 w 212"/>
                <a:gd name="T1" fmla="*/ 0 h 56"/>
                <a:gd name="T2" fmla="*/ 29 w 212"/>
                <a:gd name="T3" fmla="*/ 0 h 56"/>
                <a:gd name="T4" fmla="*/ 0 w 212"/>
                <a:gd name="T5" fmla="*/ 28 h 56"/>
                <a:gd name="T6" fmla="*/ 29 w 212"/>
                <a:gd name="T7" fmla="*/ 56 h 56"/>
                <a:gd name="T8" fmla="*/ 184 w 212"/>
                <a:gd name="T9" fmla="*/ 56 h 56"/>
                <a:gd name="T10" fmla="*/ 212 w 212"/>
                <a:gd name="T11" fmla="*/ 28 h 56"/>
                <a:gd name="T12" fmla="*/ 184 w 212"/>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212" h="56">
                  <a:moveTo>
                    <a:pt x="184" y="0"/>
                  </a:moveTo>
                  <a:cubicBezTo>
                    <a:pt x="29" y="0"/>
                    <a:pt x="29" y="0"/>
                    <a:pt x="29" y="0"/>
                  </a:cubicBezTo>
                  <a:cubicBezTo>
                    <a:pt x="13" y="0"/>
                    <a:pt x="0" y="12"/>
                    <a:pt x="0" y="28"/>
                  </a:cubicBezTo>
                  <a:cubicBezTo>
                    <a:pt x="0" y="44"/>
                    <a:pt x="13" y="56"/>
                    <a:pt x="29" y="56"/>
                  </a:cubicBezTo>
                  <a:cubicBezTo>
                    <a:pt x="184" y="56"/>
                    <a:pt x="184" y="56"/>
                    <a:pt x="184" y="56"/>
                  </a:cubicBezTo>
                  <a:cubicBezTo>
                    <a:pt x="199" y="56"/>
                    <a:pt x="212" y="44"/>
                    <a:pt x="212" y="28"/>
                  </a:cubicBezTo>
                  <a:cubicBezTo>
                    <a:pt x="212" y="12"/>
                    <a:pt x="199" y="0"/>
                    <a:pt x="18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59" name="Freeform 59"/>
            <p:cNvSpPr>
              <a:spLocks/>
            </p:cNvSpPr>
            <p:nvPr/>
          </p:nvSpPr>
          <p:spPr bwMode="auto">
            <a:xfrm>
              <a:off x="7908941" y="5672152"/>
              <a:ext cx="71438" cy="19050"/>
            </a:xfrm>
            <a:custGeom>
              <a:avLst/>
              <a:gdLst>
                <a:gd name="T0" fmla="*/ 27 w 211"/>
                <a:gd name="T1" fmla="*/ 56 h 56"/>
                <a:gd name="T2" fmla="*/ 183 w 211"/>
                <a:gd name="T3" fmla="*/ 56 h 56"/>
                <a:gd name="T4" fmla="*/ 211 w 211"/>
                <a:gd name="T5" fmla="*/ 28 h 56"/>
                <a:gd name="T6" fmla="*/ 183 w 211"/>
                <a:gd name="T7" fmla="*/ 0 h 56"/>
                <a:gd name="T8" fmla="*/ 27 w 211"/>
                <a:gd name="T9" fmla="*/ 0 h 56"/>
                <a:gd name="T10" fmla="*/ 0 w 211"/>
                <a:gd name="T11" fmla="*/ 28 h 56"/>
                <a:gd name="T12" fmla="*/ 27 w 211"/>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11" h="56">
                  <a:moveTo>
                    <a:pt x="27" y="56"/>
                  </a:moveTo>
                  <a:cubicBezTo>
                    <a:pt x="183" y="56"/>
                    <a:pt x="183" y="56"/>
                    <a:pt x="183" y="56"/>
                  </a:cubicBezTo>
                  <a:cubicBezTo>
                    <a:pt x="198" y="56"/>
                    <a:pt x="211" y="44"/>
                    <a:pt x="211" y="28"/>
                  </a:cubicBezTo>
                  <a:cubicBezTo>
                    <a:pt x="211" y="12"/>
                    <a:pt x="198" y="0"/>
                    <a:pt x="183" y="0"/>
                  </a:cubicBezTo>
                  <a:cubicBezTo>
                    <a:pt x="27" y="0"/>
                    <a:pt x="27" y="0"/>
                    <a:pt x="27" y="0"/>
                  </a:cubicBezTo>
                  <a:cubicBezTo>
                    <a:pt x="12" y="0"/>
                    <a:pt x="0" y="12"/>
                    <a:pt x="0" y="28"/>
                  </a:cubicBezTo>
                  <a:cubicBezTo>
                    <a:pt x="0" y="44"/>
                    <a:pt x="12" y="56"/>
                    <a:pt x="27" y="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60" name="Freeform 60"/>
            <p:cNvSpPr>
              <a:spLocks/>
            </p:cNvSpPr>
            <p:nvPr/>
          </p:nvSpPr>
          <p:spPr bwMode="auto">
            <a:xfrm>
              <a:off x="7808928" y="5902340"/>
              <a:ext cx="73025" cy="19050"/>
            </a:xfrm>
            <a:custGeom>
              <a:avLst/>
              <a:gdLst>
                <a:gd name="T0" fmla="*/ 184 w 212"/>
                <a:gd name="T1" fmla="*/ 0 h 57"/>
                <a:gd name="T2" fmla="*/ 29 w 212"/>
                <a:gd name="T3" fmla="*/ 0 h 57"/>
                <a:gd name="T4" fmla="*/ 0 w 212"/>
                <a:gd name="T5" fmla="*/ 29 h 57"/>
                <a:gd name="T6" fmla="*/ 29 w 212"/>
                <a:gd name="T7" fmla="*/ 57 h 57"/>
                <a:gd name="T8" fmla="*/ 184 w 212"/>
                <a:gd name="T9" fmla="*/ 57 h 57"/>
                <a:gd name="T10" fmla="*/ 212 w 212"/>
                <a:gd name="T11" fmla="*/ 29 h 57"/>
                <a:gd name="T12" fmla="*/ 184 w 212"/>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212" h="57">
                  <a:moveTo>
                    <a:pt x="184" y="0"/>
                  </a:moveTo>
                  <a:cubicBezTo>
                    <a:pt x="29" y="0"/>
                    <a:pt x="29" y="0"/>
                    <a:pt x="29" y="0"/>
                  </a:cubicBezTo>
                  <a:cubicBezTo>
                    <a:pt x="13" y="0"/>
                    <a:pt x="0" y="13"/>
                    <a:pt x="0" y="29"/>
                  </a:cubicBezTo>
                  <a:cubicBezTo>
                    <a:pt x="0" y="44"/>
                    <a:pt x="13" y="57"/>
                    <a:pt x="29" y="57"/>
                  </a:cubicBezTo>
                  <a:cubicBezTo>
                    <a:pt x="184" y="57"/>
                    <a:pt x="184" y="57"/>
                    <a:pt x="184" y="57"/>
                  </a:cubicBezTo>
                  <a:cubicBezTo>
                    <a:pt x="199" y="57"/>
                    <a:pt x="212" y="44"/>
                    <a:pt x="212" y="29"/>
                  </a:cubicBezTo>
                  <a:cubicBezTo>
                    <a:pt x="212" y="13"/>
                    <a:pt x="199" y="0"/>
                    <a:pt x="18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61" name="Freeform 61"/>
            <p:cNvSpPr>
              <a:spLocks/>
            </p:cNvSpPr>
            <p:nvPr/>
          </p:nvSpPr>
          <p:spPr bwMode="auto">
            <a:xfrm>
              <a:off x="7808928" y="5748352"/>
              <a:ext cx="73025" cy="19050"/>
            </a:xfrm>
            <a:custGeom>
              <a:avLst/>
              <a:gdLst>
                <a:gd name="T0" fmla="*/ 184 w 212"/>
                <a:gd name="T1" fmla="*/ 0 h 56"/>
                <a:gd name="T2" fmla="*/ 29 w 212"/>
                <a:gd name="T3" fmla="*/ 0 h 56"/>
                <a:gd name="T4" fmla="*/ 0 w 212"/>
                <a:gd name="T5" fmla="*/ 28 h 56"/>
                <a:gd name="T6" fmla="*/ 29 w 212"/>
                <a:gd name="T7" fmla="*/ 56 h 56"/>
                <a:gd name="T8" fmla="*/ 184 w 212"/>
                <a:gd name="T9" fmla="*/ 56 h 56"/>
                <a:gd name="T10" fmla="*/ 212 w 212"/>
                <a:gd name="T11" fmla="*/ 28 h 56"/>
                <a:gd name="T12" fmla="*/ 184 w 212"/>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212" h="56">
                  <a:moveTo>
                    <a:pt x="184" y="0"/>
                  </a:moveTo>
                  <a:cubicBezTo>
                    <a:pt x="29" y="0"/>
                    <a:pt x="29" y="0"/>
                    <a:pt x="29" y="0"/>
                  </a:cubicBezTo>
                  <a:cubicBezTo>
                    <a:pt x="13" y="0"/>
                    <a:pt x="0" y="12"/>
                    <a:pt x="0" y="28"/>
                  </a:cubicBezTo>
                  <a:cubicBezTo>
                    <a:pt x="0" y="43"/>
                    <a:pt x="13" y="56"/>
                    <a:pt x="29" y="56"/>
                  </a:cubicBezTo>
                  <a:cubicBezTo>
                    <a:pt x="184" y="56"/>
                    <a:pt x="184" y="56"/>
                    <a:pt x="184" y="56"/>
                  </a:cubicBezTo>
                  <a:cubicBezTo>
                    <a:pt x="199" y="56"/>
                    <a:pt x="212" y="43"/>
                    <a:pt x="212" y="28"/>
                  </a:cubicBezTo>
                  <a:cubicBezTo>
                    <a:pt x="212" y="12"/>
                    <a:pt x="199" y="0"/>
                    <a:pt x="18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62" name="Freeform 62"/>
            <p:cNvSpPr>
              <a:spLocks/>
            </p:cNvSpPr>
            <p:nvPr/>
          </p:nvSpPr>
          <p:spPr bwMode="auto">
            <a:xfrm>
              <a:off x="7908941" y="5826140"/>
              <a:ext cx="71438" cy="19050"/>
            </a:xfrm>
            <a:custGeom>
              <a:avLst/>
              <a:gdLst>
                <a:gd name="T0" fmla="*/ 27 w 211"/>
                <a:gd name="T1" fmla="*/ 56 h 56"/>
                <a:gd name="T2" fmla="*/ 183 w 211"/>
                <a:gd name="T3" fmla="*/ 56 h 56"/>
                <a:gd name="T4" fmla="*/ 211 w 211"/>
                <a:gd name="T5" fmla="*/ 28 h 56"/>
                <a:gd name="T6" fmla="*/ 183 w 211"/>
                <a:gd name="T7" fmla="*/ 0 h 56"/>
                <a:gd name="T8" fmla="*/ 27 w 211"/>
                <a:gd name="T9" fmla="*/ 0 h 56"/>
                <a:gd name="T10" fmla="*/ 0 w 211"/>
                <a:gd name="T11" fmla="*/ 28 h 56"/>
                <a:gd name="T12" fmla="*/ 27 w 211"/>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11" h="56">
                  <a:moveTo>
                    <a:pt x="27" y="56"/>
                  </a:moveTo>
                  <a:cubicBezTo>
                    <a:pt x="183" y="56"/>
                    <a:pt x="183" y="56"/>
                    <a:pt x="183" y="56"/>
                  </a:cubicBezTo>
                  <a:cubicBezTo>
                    <a:pt x="198" y="56"/>
                    <a:pt x="211" y="43"/>
                    <a:pt x="211" y="28"/>
                  </a:cubicBezTo>
                  <a:cubicBezTo>
                    <a:pt x="211" y="12"/>
                    <a:pt x="198" y="0"/>
                    <a:pt x="183" y="0"/>
                  </a:cubicBezTo>
                  <a:cubicBezTo>
                    <a:pt x="27" y="0"/>
                    <a:pt x="27" y="0"/>
                    <a:pt x="27" y="0"/>
                  </a:cubicBezTo>
                  <a:cubicBezTo>
                    <a:pt x="12" y="0"/>
                    <a:pt x="0" y="12"/>
                    <a:pt x="0" y="28"/>
                  </a:cubicBezTo>
                  <a:cubicBezTo>
                    <a:pt x="0" y="43"/>
                    <a:pt x="12" y="56"/>
                    <a:pt x="27" y="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63" name="Freeform 63"/>
            <p:cNvSpPr>
              <a:spLocks/>
            </p:cNvSpPr>
            <p:nvPr/>
          </p:nvSpPr>
          <p:spPr bwMode="auto">
            <a:xfrm>
              <a:off x="7808928" y="5826140"/>
              <a:ext cx="73025" cy="19050"/>
            </a:xfrm>
            <a:custGeom>
              <a:avLst/>
              <a:gdLst>
                <a:gd name="T0" fmla="*/ 184 w 212"/>
                <a:gd name="T1" fmla="*/ 0 h 56"/>
                <a:gd name="T2" fmla="*/ 29 w 212"/>
                <a:gd name="T3" fmla="*/ 0 h 56"/>
                <a:gd name="T4" fmla="*/ 0 w 212"/>
                <a:gd name="T5" fmla="*/ 28 h 56"/>
                <a:gd name="T6" fmla="*/ 29 w 212"/>
                <a:gd name="T7" fmla="*/ 56 h 56"/>
                <a:gd name="T8" fmla="*/ 184 w 212"/>
                <a:gd name="T9" fmla="*/ 56 h 56"/>
                <a:gd name="T10" fmla="*/ 212 w 212"/>
                <a:gd name="T11" fmla="*/ 28 h 56"/>
                <a:gd name="T12" fmla="*/ 184 w 212"/>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212" h="56">
                  <a:moveTo>
                    <a:pt x="184" y="0"/>
                  </a:moveTo>
                  <a:cubicBezTo>
                    <a:pt x="29" y="0"/>
                    <a:pt x="29" y="0"/>
                    <a:pt x="29" y="0"/>
                  </a:cubicBezTo>
                  <a:cubicBezTo>
                    <a:pt x="13" y="0"/>
                    <a:pt x="0" y="12"/>
                    <a:pt x="0" y="28"/>
                  </a:cubicBezTo>
                  <a:cubicBezTo>
                    <a:pt x="0" y="43"/>
                    <a:pt x="13" y="56"/>
                    <a:pt x="29" y="56"/>
                  </a:cubicBezTo>
                  <a:cubicBezTo>
                    <a:pt x="184" y="56"/>
                    <a:pt x="184" y="56"/>
                    <a:pt x="184" y="56"/>
                  </a:cubicBezTo>
                  <a:cubicBezTo>
                    <a:pt x="199" y="56"/>
                    <a:pt x="212" y="43"/>
                    <a:pt x="212" y="28"/>
                  </a:cubicBezTo>
                  <a:cubicBezTo>
                    <a:pt x="212" y="12"/>
                    <a:pt x="199" y="0"/>
                    <a:pt x="18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grpSp>
      <p:sp>
        <p:nvSpPr>
          <p:cNvPr id="164" name="Freeform 75"/>
          <p:cNvSpPr>
            <a:spLocks noEditPoints="1"/>
          </p:cNvSpPr>
          <p:nvPr/>
        </p:nvSpPr>
        <p:spPr bwMode="auto">
          <a:xfrm>
            <a:off x="1555045" y="5491662"/>
            <a:ext cx="570150" cy="136887"/>
          </a:xfrm>
          <a:custGeom>
            <a:avLst/>
            <a:gdLst>
              <a:gd name="T0" fmla="*/ 125 w 549"/>
              <a:gd name="T1" fmla="*/ 99 h 450"/>
              <a:gd name="T2" fmla="*/ 54 w 549"/>
              <a:gd name="T3" fmla="*/ 262 h 450"/>
              <a:gd name="T4" fmla="*/ 7 w 549"/>
              <a:gd name="T5" fmla="*/ 320 h 450"/>
              <a:gd name="T6" fmla="*/ 6 w 549"/>
              <a:gd name="T7" fmla="*/ 411 h 450"/>
              <a:gd name="T8" fmla="*/ 52 w 549"/>
              <a:gd name="T9" fmla="*/ 424 h 450"/>
              <a:gd name="T10" fmla="*/ 70 w 549"/>
              <a:gd name="T11" fmla="*/ 450 h 450"/>
              <a:gd name="T12" fmla="*/ 497 w 549"/>
              <a:gd name="T13" fmla="*/ 432 h 450"/>
              <a:gd name="T14" fmla="*/ 521 w 549"/>
              <a:gd name="T15" fmla="*/ 424 h 450"/>
              <a:gd name="T16" fmla="*/ 549 w 549"/>
              <a:gd name="T17" fmla="*/ 361 h 450"/>
              <a:gd name="T18" fmla="*/ 517 w 549"/>
              <a:gd name="T19" fmla="*/ 286 h 450"/>
              <a:gd name="T20" fmla="*/ 492 w 549"/>
              <a:gd name="T21" fmla="*/ 127 h 450"/>
              <a:gd name="T22" fmla="*/ 274 w 549"/>
              <a:gd name="T23" fmla="*/ 0 h 450"/>
              <a:gd name="T24" fmla="*/ 219 w 549"/>
              <a:gd name="T25" fmla="*/ 398 h 450"/>
              <a:gd name="T26" fmla="*/ 219 w 549"/>
              <a:gd name="T27" fmla="*/ 333 h 450"/>
              <a:gd name="T28" fmla="*/ 198 w 549"/>
              <a:gd name="T29" fmla="*/ 380 h 450"/>
              <a:gd name="T30" fmla="*/ 151 w 549"/>
              <a:gd name="T31" fmla="*/ 338 h 450"/>
              <a:gd name="T32" fmla="*/ 158 w 549"/>
              <a:gd name="T33" fmla="*/ 300 h 450"/>
              <a:gd name="T34" fmla="*/ 169 w 549"/>
              <a:gd name="T35" fmla="*/ 281 h 450"/>
              <a:gd name="T36" fmla="*/ 170 w 549"/>
              <a:gd name="T37" fmla="*/ 280 h 450"/>
              <a:gd name="T38" fmla="*/ 218 w 549"/>
              <a:gd name="T39" fmla="*/ 231 h 450"/>
              <a:gd name="T40" fmla="*/ 369 w 549"/>
              <a:gd name="T41" fmla="*/ 269 h 450"/>
              <a:gd name="T42" fmla="*/ 378 w 549"/>
              <a:gd name="T43" fmla="*/ 280 h 450"/>
              <a:gd name="T44" fmla="*/ 379 w 549"/>
              <a:gd name="T45" fmla="*/ 281 h 450"/>
              <a:gd name="T46" fmla="*/ 390 w 549"/>
              <a:gd name="T47" fmla="*/ 300 h 450"/>
              <a:gd name="T48" fmla="*/ 397 w 549"/>
              <a:gd name="T49" fmla="*/ 376 h 450"/>
              <a:gd name="T50" fmla="*/ 351 w 549"/>
              <a:gd name="T51" fmla="*/ 333 h 450"/>
              <a:gd name="T52" fmla="*/ 329 w 549"/>
              <a:gd name="T53" fmla="*/ 396 h 450"/>
              <a:gd name="T54" fmla="*/ 329 w 549"/>
              <a:gd name="T55" fmla="*/ 414 h 450"/>
              <a:gd name="T56" fmla="*/ 188 w 549"/>
              <a:gd name="T57" fmla="*/ 122 h 450"/>
              <a:gd name="T58" fmla="*/ 188 w 549"/>
              <a:gd name="T59" fmla="*/ 122 h 450"/>
              <a:gd name="T60" fmla="*/ 409 w 549"/>
              <a:gd name="T61" fmla="*/ 414 h 450"/>
              <a:gd name="T62" fmla="*/ 433 w 549"/>
              <a:gd name="T63" fmla="*/ 338 h 450"/>
              <a:gd name="T64" fmla="*/ 492 w 549"/>
              <a:gd name="T65" fmla="*/ 311 h 450"/>
              <a:gd name="T66" fmla="*/ 508 w 549"/>
              <a:gd name="T67" fmla="*/ 334 h 450"/>
              <a:gd name="T68" fmla="*/ 482 w 549"/>
              <a:gd name="T69" fmla="*/ 388 h 450"/>
              <a:gd name="T70" fmla="*/ 461 w 549"/>
              <a:gd name="T71" fmla="*/ 357 h 450"/>
              <a:gd name="T72" fmla="*/ 395 w 549"/>
              <a:gd name="T73" fmla="*/ 142 h 450"/>
              <a:gd name="T74" fmla="*/ 467 w 549"/>
              <a:gd name="T75" fmla="*/ 153 h 450"/>
              <a:gd name="T76" fmla="*/ 467 w 549"/>
              <a:gd name="T77" fmla="*/ 240 h 450"/>
              <a:gd name="T78" fmla="*/ 411 w 549"/>
              <a:gd name="T79" fmla="*/ 256 h 450"/>
              <a:gd name="T80" fmla="*/ 394 w 549"/>
              <a:gd name="T81" fmla="*/ 244 h 450"/>
              <a:gd name="T82" fmla="*/ 360 w 549"/>
              <a:gd name="T83" fmla="*/ 209 h 450"/>
              <a:gd name="T84" fmla="*/ 393 w 549"/>
              <a:gd name="T85" fmla="*/ 151 h 450"/>
              <a:gd name="T86" fmla="*/ 393 w 549"/>
              <a:gd name="T87" fmla="*/ 150 h 450"/>
              <a:gd name="T88" fmla="*/ 394 w 549"/>
              <a:gd name="T89" fmla="*/ 144 h 450"/>
              <a:gd name="T90" fmla="*/ 395 w 549"/>
              <a:gd name="T91" fmla="*/ 142 h 450"/>
              <a:gd name="T92" fmla="*/ 87 w 549"/>
              <a:gd name="T93" fmla="*/ 357 h 450"/>
              <a:gd name="T94" fmla="*/ 66 w 549"/>
              <a:gd name="T95" fmla="*/ 388 h 450"/>
              <a:gd name="T96" fmla="*/ 40 w 549"/>
              <a:gd name="T97" fmla="*/ 334 h 450"/>
              <a:gd name="T98" fmla="*/ 56 w 549"/>
              <a:gd name="T99" fmla="*/ 311 h 450"/>
              <a:gd name="T100" fmla="*/ 115 w 549"/>
              <a:gd name="T101" fmla="*/ 338 h 450"/>
              <a:gd name="T102" fmla="*/ 139 w 549"/>
              <a:gd name="T103" fmla="*/ 414 h 450"/>
              <a:gd name="T104" fmla="*/ 154 w 549"/>
              <a:gd name="T105" fmla="*/ 142 h 450"/>
              <a:gd name="T106" fmla="*/ 154 w 549"/>
              <a:gd name="T107" fmla="*/ 144 h 450"/>
              <a:gd name="T108" fmla="*/ 155 w 549"/>
              <a:gd name="T109" fmla="*/ 150 h 450"/>
              <a:gd name="T110" fmla="*/ 155 w 549"/>
              <a:gd name="T111" fmla="*/ 151 h 450"/>
              <a:gd name="T112" fmla="*/ 189 w 549"/>
              <a:gd name="T113" fmla="*/ 209 h 450"/>
              <a:gd name="T114" fmla="*/ 137 w 549"/>
              <a:gd name="T115" fmla="*/ 256 h 450"/>
              <a:gd name="T116" fmla="*/ 81 w 549"/>
              <a:gd name="T117" fmla="*/ 240 h 450"/>
              <a:gd name="T118" fmla="*/ 81 w 549"/>
              <a:gd name="T119" fmla="*/ 153 h 450"/>
              <a:gd name="T120" fmla="*/ 154 w 549"/>
              <a:gd name="T121" fmla="*/ 142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9" h="450">
                <a:moveTo>
                  <a:pt x="274" y="0"/>
                </a:moveTo>
                <a:cubicBezTo>
                  <a:pt x="214" y="0"/>
                  <a:pt x="163" y="44"/>
                  <a:pt x="153" y="103"/>
                </a:cubicBezTo>
                <a:cubicBezTo>
                  <a:pt x="144" y="101"/>
                  <a:pt x="135" y="99"/>
                  <a:pt x="125" y="99"/>
                </a:cubicBezTo>
                <a:cubicBezTo>
                  <a:pt x="98" y="99"/>
                  <a:pt x="74" y="110"/>
                  <a:pt x="56" y="127"/>
                </a:cubicBezTo>
                <a:cubicBezTo>
                  <a:pt x="38" y="145"/>
                  <a:pt x="28" y="169"/>
                  <a:pt x="28" y="196"/>
                </a:cubicBezTo>
                <a:cubicBezTo>
                  <a:pt x="28" y="222"/>
                  <a:pt x="38" y="245"/>
                  <a:pt x="54" y="262"/>
                </a:cubicBezTo>
                <a:cubicBezTo>
                  <a:pt x="31" y="286"/>
                  <a:pt x="31" y="286"/>
                  <a:pt x="31" y="286"/>
                </a:cubicBezTo>
                <a:cubicBezTo>
                  <a:pt x="20" y="296"/>
                  <a:pt x="13" y="307"/>
                  <a:pt x="7" y="320"/>
                </a:cubicBezTo>
                <a:cubicBezTo>
                  <a:pt x="7" y="320"/>
                  <a:pt x="7" y="320"/>
                  <a:pt x="7" y="320"/>
                </a:cubicBezTo>
                <a:cubicBezTo>
                  <a:pt x="2" y="333"/>
                  <a:pt x="0" y="346"/>
                  <a:pt x="0" y="361"/>
                </a:cubicBezTo>
                <a:cubicBezTo>
                  <a:pt x="0" y="389"/>
                  <a:pt x="0" y="389"/>
                  <a:pt x="0" y="389"/>
                </a:cubicBezTo>
                <a:cubicBezTo>
                  <a:pt x="0" y="397"/>
                  <a:pt x="2" y="405"/>
                  <a:pt x="6" y="411"/>
                </a:cubicBezTo>
                <a:cubicBezTo>
                  <a:pt x="11" y="418"/>
                  <a:pt x="18" y="423"/>
                  <a:pt x="27" y="424"/>
                </a:cubicBezTo>
                <a:cubicBezTo>
                  <a:pt x="28" y="424"/>
                  <a:pt x="29" y="424"/>
                  <a:pt x="29" y="424"/>
                </a:cubicBezTo>
                <a:cubicBezTo>
                  <a:pt x="52" y="424"/>
                  <a:pt x="52" y="424"/>
                  <a:pt x="52" y="424"/>
                </a:cubicBezTo>
                <a:cubicBezTo>
                  <a:pt x="52" y="432"/>
                  <a:pt x="52" y="432"/>
                  <a:pt x="52" y="432"/>
                </a:cubicBezTo>
                <a:cubicBezTo>
                  <a:pt x="52" y="442"/>
                  <a:pt x="60" y="450"/>
                  <a:pt x="69" y="450"/>
                </a:cubicBezTo>
                <a:cubicBezTo>
                  <a:pt x="70" y="450"/>
                  <a:pt x="70" y="450"/>
                  <a:pt x="70" y="450"/>
                </a:cubicBezTo>
                <a:cubicBezTo>
                  <a:pt x="478" y="450"/>
                  <a:pt x="478" y="450"/>
                  <a:pt x="478" y="450"/>
                </a:cubicBezTo>
                <a:cubicBezTo>
                  <a:pt x="479" y="450"/>
                  <a:pt x="479" y="450"/>
                  <a:pt x="479" y="450"/>
                </a:cubicBezTo>
                <a:cubicBezTo>
                  <a:pt x="489" y="450"/>
                  <a:pt x="497" y="442"/>
                  <a:pt x="497" y="432"/>
                </a:cubicBezTo>
                <a:cubicBezTo>
                  <a:pt x="497" y="424"/>
                  <a:pt x="497" y="424"/>
                  <a:pt x="497" y="424"/>
                </a:cubicBezTo>
                <a:cubicBezTo>
                  <a:pt x="519" y="424"/>
                  <a:pt x="519" y="424"/>
                  <a:pt x="519" y="424"/>
                </a:cubicBezTo>
                <a:cubicBezTo>
                  <a:pt x="519" y="424"/>
                  <a:pt x="520" y="424"/>
                  <a:pt x="521" y="424"/>
                </a:cubicBezTo>
                <a:cubicBezTo>
                  <a:pt x="530" y="423"/>
                  <a:pt x="537" y="418"/>
                  <a:pt x="542" y="411"/>
                </a:cubicBezTo>
                <a:cubicBezTo>
                  <a:pt x="546" y="405"/>
                  <a:pt x="549" y="397"/>
                  <a:pt x="549" y="389"/>
                </a:cubicBezTo>
                <a:cubicBezTo>
                  <a:pt x="549" y="361"/>
                  <a:pt x="549" y="361"/>
                  <a:pt x="549" y="361"/>
                </a:cubicBezTo>
                <a:cubicBezTo>
                  <a:pt x="549" y="346"/>
                  <a:pt x="546" y="333"/>
                  <a:pt x="541" y="320"/>
                </a:cubicBezTo>
                <a:cubicBezTo>
                  <a:pt x="541" y="320"/>
                  <a:pt x="541" y="320"/>
                  <a:pt x="541" y="320"/>
                </a:cubicBezTo>
                <a:cubicBezTo>
                  <a:pt x="535" y="307"/>
                  <a:pt x="528" y="296"/>
                  <a:pt x="517" y="286"/>
                </a:cubicBezTo>
                <a:cubicBezTo>
                  <a:pt x="494" y="262"/>
                  <a:pt x="494" y="262"/>
                  <a:pt x="494" y="262"/>
                </a:cubicBezTo>
                <a:cubicBezTo>
                  <a:pt x="511" y="245"/>
                  <a:pt x="521" y="222"/>
                  <a:pt x="521" y="196"/>
                </a:cubicBezTo>
                <a:cubicBezTo>
                  <a:pt x="521" y="169"/>
                  <a:pt x="510" y="145"/>
                  <a:pt x="492" y="127"/>
                </a:cubicBezTo>
                <a:cubicBezTo>
                  <a:pt x="475" y="110"/>
                  <a:pt x="450" y="99"/>
                  <a:pt x="423" y="99"/>
                </a:cubicBezTo>
                <a:cubicBezTo>
                  <a:pt x="413" y="99"/>
                  <a:pt x="404" y="101"/>
                  <a:pt x="395" y="103"/>
                </a:cubicBezTo>
                <a:cubicBezTo>
                  <a:pt x="385" y="44"/>
                  <a:pt x="334" y="0"/>
                  <a:pt x="274" y="0"/>
                </a:cubicBezTo>
                <a:close/>
                <a:moveTo>
                  <a:pt x="219" y="414"/>
                </a:moveTo>
                <a:cubicBezTo>
                  <a:pt x="219" y="414"/>
                  <a:pt x="219" y="414"/>
                  <a:pt x="219" y="414"/>
                </a:cubicBezTo>
                <a:cubicBezTo>
                  <a:pt x="219" y="398"/>
                  <a:pt x="219" y="398"/>
                  <a:pt x="219" y="398"/>
                </a:cubicBezTo>
                <a:cubicBezTo>
                  <a:pt x="219" y="398"/>
                  <a:pt x="219" y="398"/>
                  <a:pt x="219" y="398"/>
                </a:cubicBezTo>
                <a:cubicBezTo>
                  <a:pt x="219" y="396"/>
                  <a:pt x="219" y="396"/>
                  <a:pt x="219" y="396"/>
                </a:cubicBezTo>
                <a:cubicBezTo>
                  <a:pt x="219" y="333"/>
                  <a:pt x="219" y="333"/>
                  <a:pt x="219" y="333"/>
                </a:cubicBezTo>
                <a:cubicBezTo>
                  <a:pt x="219" y="327"/>
                  <a:pt x="214" y="323"/>
                  <a:pt x="208" y="323"/>
                </a:cubicBezTo>
                <a:cubicBezTo>
                  <a:pt x="202" y="323"/>
                  <a:pt x="198" y="327"/>
                  <a:pt x="198" y="333"/>
                </a:cubicBezTo>
                <a:cubicBezTo>
                  <a:pt x="198" y="380"/>
                  <a:pt x="198" y="380"/>
                  <a:pt x="198" y="380"/>
                </a:cubicBezTo>
                <a:cubicBezTo>
                  <a:pt x="152" y="380"/>
                  <a:pt x="152" y="380"/>
                  <a:pt x="152" y="380"/>
                </a:cubicBezTo>
                <a:cubicBezTo>
                  <a:pt x="151" y="379"/>
                  <a:pt x="151" y="378"/>
                  <a:pt x="151" y="376"/>
                </a:cubicBezTo>
                <a:cubicBezTo>
                  <a:pt x="151" y="338"/>
                  <a:pt x="151" y="338"/>
                  <a:pt x="151" y="338"/>
                </a:cubicBezTo>
                <a:cubicBezTo>
                  <a:pt x="151" y="325"/>
                  <a:pt x="153" y="312"/>
                  <a:pt x="158" y="301"/>
                </a:cubicBezTo>
                <a:cubicBezTo>
                  <a:pt x="158" y="300"/>
                  <a:pt x="158" y="300"/>
                  <a:pt x="158" y="300"/>
                </a:cubicBezTo>
                <a:cubicBezTo>
                  <a:pt x="158" y="300"/>
                  <a:pt x="158" y="300"/>
                  <a:pt x="158" y="300"/>
                </a:cubicBezTo>
                <a:cubicBezTo>
                  <a:pt x="161" y="294"/>
                  <a:pt x="165" y="287"/>
                  <a:pt x="169" y="281"/>
                </a:cubicBezTo>
                <a:cubicBezTo>
                  <a:pt x="169" y="281"/>
                  <a:pt x="169" y="281"/>
                  <a:pt x="169" y="281"/>
                </a:cubicBezTo>
                <a:cubicBezTo>
                  <a:pt x="169" y="281"/>
                  <a:pt x="169" y="281"/>
                  <a:pt x="169" y="281"/>
                </a:cubicBezTo>
                <a:cubicBezTo>
                  <a:pt x="170" y="280"/>
                  <a:pt x="170" y="280"/>
                  <a:pt x="170" y="280"/>
                </a:cubicBezTo>
                <a:cubicBezTo>
                  <a:pt x="170" y="280"/>
                  <a:pt x="170" y="280"/>
                  <a:pt x="170" y="280"/>
                </a:cubicBezTo>
                <a:cubicBezTo>
                  <a:pt x="170" y="280"/>
                  <a:pt x="170" y="280"/>
                  <a:pt x="170" y="280"/>
                </a:cubicBezTo>
                <a:cubicBezTo>
                  <a:pt x="170" y="280"/>
                  <a:pt x="170" y="280"/>
                  <a:pt x="170" y="280"/>
                </a:cubicBezTo>
                <a:cubicBezTo>
                  <a:pt x="173" y="276"/>
                  <a:pt x="176" y="272"/>
                  <a:pt x="180" y="269"/>
                </a:cubicBezTo>
                <a:cubicBezTo>
                  <a:pt x="218" y="231"/>
                  <a:pt x="218" y="231"/>
                  <a:pt x="218" y="231"/>
                </a:cubicBezTo>
                <a:cubicBezTo>
                  <a:pt x="253" y="249"/>
                  <a:pt x="295" y="249"/>
                  <a:pt x="330" y="231"/>
                </a:cubicBezTo>
                <a:cubicBezTo>
                  <a:pt x="368" y="269"/>
                  <a:pt x="368" y="269"/>
                  <a:pt x="368" y="269"/>
                </a:cubicBezTo>
                <a:cubicBezTo>
                  <a:pt x="369" y="269"/>
                  <a:pt x="369" y="269"/>
                  <a:pt x="369" y="269"/>
                </a:cubicBezTo>
                <a:cubicBezTo>
                  <a:pt x="368" y="269"/>
                  <a:pt x="368" y="269"/>
                  <a:pt x="368" y="269"/>
                </a:cubicBezTo>
                <a:cubicBezTo>
                  <a:pt x="372" y="272"/>
                  <a:pt x="375" y="276"/>
                  <a:pt x="378" y="280"/>
                </a:cubicBezTo>
                <a:cubicBezTo>
                  <a:pt x="378" y="280"/>
                  <a:pt x="378" y="280"/>
                  <a:pt x="378" y="280"/>
                </a:cubicBezTo>
                <a:cubicBezTo>
                  <a:pt x="378" y="280"/>
                  <a:pt x="378" y="280"/>
                  <a:pt x="378" y="280"/>
                </a:cubicBezTo>
                <a:cubicBezTo>
                  <a:pt x="379" y="280"/>
                  <a:pt x="379" y="280"/>
                  <a:pt x="379" y="280"/>
                </a:cubicBezTo>
                <a:cubicBezTo>
                  <a:pt x="379" y="281"/>
                  <a:pt x="379" y="281"/>
                  <a:pt x="379" y="281"/>
                </a:cubicBezTo>
                <a:cubicBezTo>
                  <a:pt x="379" y="281"/>
                  <a:pt x="379" y="281"/>
                  <a:pt x="379" y="281"/>
                </a:cubicBezTo>
                <a:cubicBezTo>
                  <a:pt x="383" y="287"/>
                  <a:pt x="387" y="294"/>
                  <a:pt x="390" y="300"/>
                </a:cubicBezTo>
                <a:cubicBezTo>
                  <a:pt x="390" y="300"/>
                  <a:pt x="390" y="300"/>
                  <a:pt x="390" y="300"/>
                </a:cubicBezTo>
                <a:cubicBezTo>
                  <a:pt x="390" y="301"/>
                  <a:pt x="390" y="301"/>
                  <a:pt x="390" y="301"/>
                </a:cubicBezTo>
                <a:cubicBezTo>
                  <a:pt x="395" y="312"/>
                  <a:pt x="397" y="325"/>
                  <a:pt x="397" y="338"/>
                </a:cubicBezTo>
                <a:cubicBezTo>
                  <a:pt x="397" y="376"/>
                  <a:pt x="397" y="376"/>
                  <a:pt x="397" y="376"/>
                </a:cubicBezTo>
                <a:cubicBezTo>
                  <a:pt x="397" y="378"/>
                  <a:pt x="397" y="379"/>
                  <a:pt x="396" y="380"/>
                </a:cubicBezTo>
                <a:cubicBezTo>
                  <a:pt x="351" y="380"/>
                  <a:pt x="351" y="380"/>
                  <a:pt x="351" y="380"/>
                </a:cubicBezTo>
                <a:cubicBezTo>
                  <a:pt x="351" y="333"/>
                  <a:pt x="351" y="333"/>
                  <a:pt x="351" y="333"/>
                </a:cubicBezTo>
                <a:cubicBezTo>
                  <a:pt x="351" y="327"/>
                  <a:pt x="346" y="323"/>
                  <a:pt x="340" y="323"/>
                </a:cubicBezTo>
                <a:cubicBezTo>
                  <a:pt x="334" y="323"/>
                  <a:pt x="329" y="327"/>
                  <a:pt x="329" y="333"/>
                </a:cubicBezTo>
                <a:cubicBezTo>
                  <a:pt x="329" y="396"/>
                  <a:pt x="329" y="396"/>
                  <a:pt x="329" y="396"/>
                </a:cubicBezTo>
                <a:cubicBezTo>
                  <a:pt x="329" y="398"/>
                  <a:pt x="329" y="398"/>
                  <a:pt x="329" y="398"/>
                </a:cubicBezTo>
                <a:cubicBezTo>
                  <a:pt x="329" y="398"/>
                  <a:pt x="329" y="398"/>
                  <a:pt x="329" y="398"/>
                </a:cubicBezTo>
                <a:cubicBezTo>
                  <a:pt x="329" y="414"/>
                  <a:pt x="329" y="414"/>
                  <a:pt x="329" y="414"/>
                </a:cubicBezTo>
                <a:cubicBezTo>
                  <a:pt x="219" y="414"/>
                  <a:pt x="219" y="414"/>
                  <a:pt x="219" y="414"/>
                </a:cubicBezTo>
                <a:close/>
                <a:moveTo>
                  <a:pt x="188" y="122"/>
                </a:moveTo>
                <a:cubicBezTo>
                  <a:pt x="188" y="122"/>
                  <a:pt x="188" y="122"/>
                  <a:pt x="188" y="122"/>
                </a:cubicBezTo>
                <a:cubicBezTo>
                  <a:pt x="188" y="75"/>
                  <a:pt x="226" y="36"/>
                  <a:pt x="274" y="36"/>
                </a:cubicBezTo>
                <a:cubicBezTo>
                  <a:pt x="322" y="36"/>
                  <a:pt x="360" y="75"/>
                  <a:pt x="360" y="122"/>
                </a:cubicBezTo>
                <a:cubicBezTo>
                  <a:pt x="360" y="235"/>
                  <a:pt x="188" y="235"/>
                  <a:pt x="188" y="122"/>
                </a:cubicBezTo>
                <a:close/>
                <a:moveTo>
                  <a:pt x="461" y="414"/>
                </a:moveTo>
                <a:cubicBezTo>
                  <a:pt x="461" y="414"/>
                  <a:pt x="461" y="414"/>
                  <a:pt x="461" y="414"/>
                </a:cubicBezTo>
                <a:cubicBezTo>
                  <a:pt x="409" y="414"/>
                  <a:pt x="409" y="414"/>
                  <a:pt x="409" y="414"/>
                </a:cubicBezTo>
                <a:cubicBezTo>
                  <a:pt x="416" y="412"/>
                  <a:pt x="421" y="407"/>
                  <a:pt x="425" y="401"/>
                </a:cubicBezTo>
                <a:cubicBezTo>
                  <a:pt x="430" y="394"/>
                  <a:pt x="433" y="385"/>
                  <a:pt x="433" y="376"/>
                </a:cubicBezTo>
                <a:cubicBezTo>
                  <a:pt x="433" y="338"/>
                  <a:pt x="433" y="338"/>
                  <a:pt x="433" y="338"/>
                </a:cubicBezTo>
                <a:cubicBezTo>
                  <a:pt x="433" y="322"/>
                  <a:pt x="430" y="307"/>
                  <a:pt x="425" y="293"/>
                </a:cubicBezTo>
                <a:cubicBezTo>
                  <a:pt x="440" y="293"/>
                  <a:pt x="453" y="290"/>
                  <a:pt x="465" y="284"/>
                </a:cubicBezTo>
                <a:cubicBezTo>
                  <a:pt x="492" y="311"/>
                  <a:pt x="492" y="311"/>
                  <a:pt x="492" y="311"/>
                </a:cubicBezTo>
                <a:cubicBezTo>
                  <a:pt x="499" y="318"/>
                  <a:pt x="504" y="325"/>
                  <a:pt x="508" y="333"/>
                </a:cubicBezTo>
                <a:cubicBezTo>
                  <a:pt x="508" y="334"/>
                  <a:pt x="508" y="334"/>
                  <a:pt x="508" y="334"/>
                </a:cubicBezTo>
                <a:cubicBezTo>
                  <a:pt x="508" y="334"/>
                  <a:pt x="508" y="334"/>
                  <a:pt x="508" y="334"/>
                </a:cubicBezTo>
                <a:cubicBezTo>
                  <a:pt x="511" y="342"/>
                  <a:pt x="513" y="351"/>
                  <a:pt x="513" y="361"/>
                </a:cubicBezTo>
                <a:cubicBezTo>
                  <a:pt x="513" y="388"/>
                  <a:pt x="513" y="388"/>
                  <a:pt x="513" y="388"/>
                </a:cubicBezTo>
                <a:cubicBezTo>
                  <a:pt x="482" y="388"/>
                  <a:pt x="482" y="388"/>
                  <a:pt x="482" y="388"/>
                </a:cubicBezTo>
                <a:cubicBezTo>
                  <a:pt x="482" y="357"/>
                  <a:pt x="482" y="357"/>
                  <a:pt x="482" y="357"/>
                </a:cubicBezTo>
                <a:cubicBezTo>
                  <a:pt x="482" y="351"/>
                  <a:pt x="477" y="346"/>
                  <a:pt x="471" y="346"/>
                </a:cubicBezTo>
                <a:cubicBezTo>
                  <a:pt x="465" y="346"/>
                  <a:pt x="461" y="351"/>
                  <a:pt x="461" y="357"/>
                </a:cubicBezTo>
                <a:cubicBezTo>
                  <a:pt x="461" y="414"/>
                  <a:pt x="461" y="414"/>
                  <a:pt x="461" y="414"/>
                </a:cubicBezTo>
                <a:close/>
                <a:moveTo>
                  <a:pt x="395" y="142"/>
                </a:moveTo>
                <a:cubicBezTo>
                  <a:pt x="395" y="142"/>
                  <a:pt x="395" y="142"/>
                  <a:pt x="395" y="142"/>
                </a:cubicBezTo>
                <a:cubicBezTo>
                  <a:pt x="398" y="140"/>
                  <a:pt x="401" y="138"/>
                  <a:pt x="405" y="137"/>
                </a:cubicBezTo>
                <a:cubicBezTo>
                  <a:pt x="411" y="136"/>
                  <a:pt x="417" y="135"/>
                  <a:pt x="423" y="135"/>
                </a:cubicBezTo>
                <a:cubicBezTo>
                  <a:pt x="440" y="135"/>
                  <a:pt x="456" y="141"/>
                  <a:pt x="467" y="153"/>
                </a:cubicBezTo>
                <a:cubicBezTo>
                  <a:pt x="478" y="164"/>
                  <a:pt x="485" y="179"/>
                  <a:pt x="485" y="196"/>
                </a:cubicBezTo>
                <a:cubicBezTo>
                  <a:pt x="485" y="213"/>
                  <a:pt x="478" y="229"/>
                  <a:pt x="467" y="240"/>
                </a:cubicBezTo>
                <a:cubicBezTo>
                  <a:pt x="467" y="240"/>
                  <a:pt x="467" y="240"/>
                  <a:pt x="467" y="240"/>
                </a:cubicBezTo>
                <a:cubicBezTo>
                  <a:pt x="456" y="251"/>
                  <a:pt x="440" y="258"/>
                  <a:pt x="423" y="258"/>
                </a:cubicBezTo>
                <a:cubicBezTo>
                  <a:pt x="419" y="258"/>
                  <a:pt x="415" y="257"/>
                  <a:pt x="411" y="257"/>
                </a:cubicBezTo>
                <a:cubicBezTo>
                  <a:pt x="411" y="256"/>
                  <a:pt x="411" y="256"/>
                  <a:pt x="411" y="256"/>
                </a:cubicBezTo>
                <a:cubicBezTo>
                  <a:pt x="409" y="256"/>
                  <a:pt x="406" y="255"/>
                  <a:pt x="404" y="255"/>
                </a:cubicBezTo>
                <a:cubicBezTo>
                  <a:pt x="401" y="251"/>
                  <a:pt x="397" y="247"/>
                  <a:pt x="394" y="244"/>
                </a:cubicBezTo>
                <a:cubicBezTo>
                  <a:pt x="394" y="244"/>
                  <a:pt x="394" y="244"/>
                  <a:pt x="394" y="244"/>
                </a:cubicBezTo>
                <a:cubicBezTo>
                  <a:pt x="359" y="209"/>
                  <a:pt x="359" y="209"/>
                  <a:pt x="359" y="209"/>
                </a:cubicBezTo>
                <a:cubicBezTo>
                  <a:pt x="360" y="209"/>
                  <a:pt x="360" y="209"/>
                  <a:pt x="360" y="209"/>
                </a:cubicBezTo>
                <a:cubicBezTo>
                  <a:pt x="360" y="209"/>
                  <a:pt x="360" y="209"/>
                  <a:pt x="360" y="209"/>
                </a:cubicBezTo>
                <a:cubicBezTo>
                  <a:pt x="360" y="209"/>
                  <a:pt x="360" y="209"/>
                  <a:pt x="360" y="209"/>
                </a:cubicBezTo>
                <a:cubicBezTo>
                  <a:pt x="360" y="208"/>
                  <a:pt x="360" y="208"/>
                  <a:pt x="360" y="208"/>
                </a:cubicBezTo>
                <a:cubicBezTo>
                  <a:pt x="376" y="193"/>
                  <a:pt x="387" y="172"/>
                  <a:pt x="393" y="151"/>
                </a:cubicBezTo>
                <a:cubicBezTo>
                  <a:pt x="393" y="150"/>
                  <a:pt x="393" y="150"/>
                  <a:pt x="393" y="150"/>
                </a:cubicBezTo>
                <a:cubicBezTo>
                  <a:pt x="393" y="150"/>
                  <a:pt x="393" y="150"/>
                  <a:pt x="393" y="150"/>
                </a:cubicBezTo>
                <a:cubicBezTo>
                  <a:pt x="393" y="150"/>
                  <a:pt x="393" y="150"/>
                  <a:pt x="393" y="150"/>
                </a:cubicBezTo>
                <a:cubicBezTo>
                  <a:pt x="393" y="149"/>
                  <a:pt x="393" y="149"/>
                  <a:pt x="393" y="149"/>
                </a:cubicBezTo>
                <a:cubicBezTo>
                  <a:pt x="394" y="144"/>
                  <a:pt x="394" y="144"/>
                  <a:pt x="394" y="144"/>
                </a:cubicBezTo>
                <a:cubicBezTo>
                  <a:pt x="394" y="144"/>
                  <a:pt x="394" y="144"/>
                  <a:pt x="394" y="144"/>
                </a:cubicBezTo>
                <a:cubicBezTo>
                  <a:pt x="394" y="143"/>
                  <a:pt x="394" y="143"/>
                  <a:pt x="394" y="143"/>
                </a:cubicBezTo>
                <a:cubicBezTo>
                  <a:pt x="394" y="143"/>
                  <a:pt x="394" y="143"/>
                  <a:pt x="394" y="143"/>
                </a:cubicBezTo>
                <a:cubicBezTo>
                  <a:pt x="395" y="142"/>
                  <a:pt x="395" y="142"/>
                  <a:pt x="395" y="142"/>
                </a:cubicBezTo>
                <a:close/>
                <a:moveTo>
                  <a:pt x="87" y="414"/>
                </a:moveTo>
                <a:cubicBezTo>
                  <a:pt x="87" y="414"/>
                  <a:pt x="87" y="414"/>
                  <a:pt x="87" y="414"/>
                </a:cubicBezTo>
                <a:cubicBezTo>
                  <a:pt x="87" y="357"/>
                  <a:pt x="87" y="357"/>
                  <a:pt x="87" y="357"/>
                </a:cubicBezTo>
                <a:cubicBezTo>
                  <a:pt x="87" y="351"/>
                  <a:pt x="83" y="346"/>
                  <a:pt x="77" y="346"/>
                </a:cubicBezTo>
                <a:cubicBezTo>
                  <a:pt x="71" y="346"/>
                  <a:pt x="66" y="351"/>
                  <a:pt x="66" y="357"/>
                </a:cubicBezTo>
                <a:cubicBezTo>
                  <a:pt x="66" y="388"/>
                  <a:pt x="66" y="388"/>
                  <a:pt x="66" y="388"/>
                </a:cubicBezTo>
                <a:cubicBezTo>
                  <a:pt x="35" y="388"/>
                  <a:pt x="35" y="388"/>
                  <a:pt x="35" y="388"/>
                </a:cubicBezTo>
                <a:cubicBezTo>
                  <a:pt x="35" y="361"/>
                  <a:pt x="35" y="361"/>
                  <a:pt x="35" y="361"/>
                </a:cubicBezTo>
                <a:cubicBezTo>
                  <a:pt x="35" y="351"/>
                  <a:pt x="37" y="342"/>
                  <a:pt x="40" y="334"/>
                </a:cubicBezTo>
                <a:cubicBezTo>
                  <a:pt x="40" y="334"/>
                  <a:pt x="40" y="334"/>
                  <a:pt x="40" y="334"/>
                </a:cubicBezTo>
                <a:cubicBezTo>
                  <a:pt x="40" y="333"/>
                  <a:pt x="40" y="333"/>
                  <a:pt x="40" y="333"/>
                </a:cubicBezTo>
                <a:cubicBezTo>
                  <a:pt x="44" y="325"/>
                  <a:pt x="49" y="318"/>
                  <a:pt x="56" y="311"/>
                </a:cubicBezTo>
                <a:cubicBezTo>
                  <a:pt x="83" y="284"/>
                  <a:pt x="83" y="284"/>
                  <a:pt x="83" y="284"/>
                </a:cubicBezTo>
                <a:cubicBezTo>
                  <a:pt x="95" y="290"/>
                  <a:pt x="108" y="293"/>
                  <a:pt x="123" y="293"/>
                </a:cubicBezTo>
                <a:cubicBezTo>
                  <a:pt x="118" y="307"/>
                  <a:pt x="115" y="322"/>
                  <a:pt x="115" y="338"/>
                </a:cubicBezTo>
                <a:cubicBezTo>
                  <a:pt x="115" y="376"/>
                  <a:pt x="115" y="376"/>
                  <a:pt x="115" y="376"/>
                </a:cubicBezTo>
                <a:cubicBezTo>
                  <a:pt x="115" y="385"/>
                  <a:pt x="118" y="394"/>
                  <a:pt x="123" y="401"/>
                </a:cubicBezTo>
                <a:cubicBezTo>
                  <a:pt x="127" y="407"/>
                  <a:pt x="133" y="412"/>
                  <a:pt x="139" y="414"/>
                </a:cubicBezTo>
                <a:cubicBezTo>
                  <a:pt x="87" y="414"/>
                  <a:pt x="87" y="414"/>
                  <a:pt x="87" y="414"/>
                </a:cubicBezTo>
                <a:close/>
                <a:moveTo>
                  <a:pt x="154" y="142"/>
                </a:moveTo>
                <a:cubicBezTo>
                  <a:pt x="154" y="142"/>
                  <a:pt x="154" y="142"/>
                  <a:pt x="154" y="142"/>
                </a:cubicBezTo>
                <a:cubicBezTo>
                  <a:pt x="154" y="143"/>
                  <a:pt x="154" y="143"/>
                  <a:pt x="154" y="143"/>
                </a:cubicBezTo>
                <a:cubicBezTo>
                  <a:pt x="154" y="143"/>
                  <a:pt x="154" y="143"/>
                  <a:pt x="154" y="143"/>
                </a:cubicBezTo>
                <a:cubicBezTo>
                  <a:pt x="154" y="144"/>
                  <a:pt x="154" y="144"/>
                  <a:pt x="154" y="144"/>
                </a:cubicBezTo>
                <a:cubicBezTo>
                  <a:pt x="154" y="144"/>
                  <a:pt x="154" y="144"/>
                  <a:pt x="154" y="144"/>
                </a:cubicBezTo>
                <a:cubicBezTo>
                  <a:pt x="155" y="149"/>
                  <a:pt x="155" y="149"/>
                  <a:pt x="155" y="149"/>
                </a:cubicBezTo>
                <a:cubicBezTo>
                  <a:pt x="155" y="150"/>
                  <a:pt x="155" y="150"/>
                  <a:pt x="155" y="150"/>
                </a:cubicBezTo>
                <a:cubicBezTo>
                  <a:pt x="155" y="150"/>
                  <a:pt x="155" y="150"/>
                  <a:pt x="155" y="150"/>
                </a:cubicBezTo>
                <a:cubicBezTo>
                  <a:pt x="155" y="150"/>
                  <a:pt x="155" y="150"/>
                  <a:pt x="155" y="150"/>
                </a:cubicBezTo>
                <a:cubicBezTo>
                  <a:pt x="155" y="151"/>
                  <a:pt x="155" y="151"/>
                  <a:pt x="155" y="151"/>
                </a:cubicBezTo>
                <a:cubicBezTo>
                  <a:pt x="161" y="172"/>
                  <a:pt x="172" y="193"/>
                  <a:pt x="188" y="208"/>
                </a:cubicBezTo>
                <a:cubicBezTo>
                  <a:pt x="188" y="209"/>
                  <a:pt x="188" y="209"/>
                  <a:pt x="188" y="209"/>
                </a:cubicBezTo>
                <a:cubicBezTo>
                  <a:pt x="189" y="209"/>
                  <a:pt x="189" y="209"/>
                  <a:pt x="189" y="209"/>
                </a:cubicBezTo>
                <a:cubicBezTo>
                  <a:pt x="154" y="244"/>
                  <a:pt x="154" y="244"/>
                  <a:pt x="154" y="244"/>
                </a:cubicBezTo>
                <a:cubicBezTo>
                  <a:pt x="151" y="247"/>
                  <a:pt x="148" y="251"/>
                  <a:pt x="145" y="255"/>
                </a:cubicBezTo>
                <a:cubicBezTo>
                  <a:pt x="142" y="255"/>
                  <a:pt x="139" y="256"/>
                  <a:pt x="137" y="256"/>
                </a:cubicBezTo>
                <a:cubicBezTo>
                  <a:pt x="137" y="257"/>
                  <a:pt x="137" y="257"/>
                  <a:pt x="137" y="257"/>
                </a:cubicBezTo>
                <a:cubicBezTo>
                  <a:pt x="133" y="257"/>
                  <a:pt x="129" y="258"/>
                  <a:pt x="125" y="258"/>
                </a:cubicBezTo>
                <a:cubicBezTo>
                  <a:pt x="108" y="258"/>
                  <a:pt x="92" y="251"/>
                  <a:pt x="81" y="240"/>
                </a:cubicBezTo>
                <a:cubicBezTo>
                  <a:pt x="81" y="240"/>
                  <a:pt x="81" y="240"/>
                  <a:pt x="81" y="240"/>
                </a:cubicBezTo>
                <a:cubicBezTo>
                  <a:pt x="70" y="229"/>
                  <a:pt x="63" y="213"/>
                  <a:pt x="63" y="196"/>
                </a:cubicBezTo>
                <a:cubicBezTo>
                  <a:pt x="63" y="179"/>
                  <a:pt x="70" y="164"/>
                  <a:pt x="81" y="153"/>
                </a:cubicBezTo>
                <a:cubicBezTo>
                  <a:pt x="92" y="141"/>
                  <a:pt x="108" y="135"/>
                  <a:pt x="125" y="135"/>
                </a:cubicBezTo>
                <a:cubicBezTo>
                  <a:pt x="131" y="135"/>
                  <a:pt x="137" y="136"/>
                  <a:pt x="143" y="137"/>
                </a:cubicBezTo>
                <a:cubicBezTo>
                  <a:pt x="147" y="138"/>
                  <a:pt x="150" y="140"/>
                  <a:pt x="154" y="14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sp>
        <p:nvSpPr>
          <p:cNvPr id="165" name="Freeform 71"/>
          <p:cNvSpPr>
            <a:spLocks noEditPoints="1"/>
          </p:cNvSpPr>
          <p:nvPr/>
        </p:nvSpPr>
        <p:spPr bwMode="auto">
          <a:xfrm>
            <a:off x="3418531" y="5477581"/>
            <a:ext cx="498258" cy="150968"/>
          </a:xfrm>
          <a:custGeom>
            <a:avLst/>
            <a:gdLst>
              <a:gd name="T0" fmla="*/ 81 w 308"/>
              <a:gd name="T1" fmla="*/ 133 h 280"/>
              <a:gd name="T2" fmla="*/ 30 w 308"/>
              <a:gd name="T3" fmla="*/ 133 h 280"/>
              <a:gd name="T4" fmla="*/ 37 w 308"/>
              <a:gd name="T5" fmla="*/ 115 h 280"/>
              <a:gd name="T6" fmla="*/ 74 w 308"/>
              <a:gd name="T7" fmla="*/ 103 h 280"/>
              <a:gd name="T8" fmla="*/ 37 w 308"/>
              <a:gd name="T9" fmla="*/ 115 h 280"/>
              <a:gd name="T10" fmla="*/ 220 w 308"/>
              <a:gd name="T11" fmla="*/ 33 h 280"/>
              <a:gd name="T12" fmla="*/ 100 w 308"/>
              <a:gd name="T13" fmla="*/ 0 h 280"/>
              <a:gd name="T14" fmla="*/ 11 w 308"/>
              <a:gd name="T15" fmla="*/ 33 h 280"/>
              <a:gd name="T16" fmla="*/ 11 w 308"/>
              <a:gd name="T17" fmla="*/ 265 h 280"/>
              <a:gd name="T18" fmla="*/ 100 w 308"/>
              <a:gd name="T19" fmla="*/ 280 h 280"/>
              <a:gd name="T20" fmla="*/ 220 w 308"/>
              <a:gd name="T21" fmla="*/ 265 h 280"/>
              <a:gd name="T22" fmla="*/ 308 w 308"/>
              <a:gd name="T23" fmla="*/ 44 h 280"/>
              <a:gd name="T24" fmla="*/ 89 w 308"/>
              <a:gd name="T25" fmla="*/ 243 h 280"/>
              <a:gd name="T26" fmla="*/ 89 w 308"/>
              <a:gd name="T27" fmla="*/ 54 h 280"/>
              <a:gd name="T28" fmla="*/ 198 w 308"/>
              <a:gd name="T29" fmla="*/ 259 h 280"/>
              <a:gd name="T30" fmla="*/ 198 w 308"/>
              <a:gd name="T31" fmla="*/ 22 h 280"/>
              <a:gd name="T32" fmla="*/ 286 w 308"/>
              <a:gd name="T33" fmla="*/ 243 h 280"/>
              <a:gd name="T34" fmla="*/ 286 w 308"/>
              <a:gd name="T35" fmla="*/ 54 h 280"/>
              <a:gd name="T36" fmla="*/ 37 w 308"/>
              <a:gd name="T37" fmla="*/ 92 h 280"/>
              <a:gd name="T38" fmla="*/ 74 w 308"/>
              <a:gd name="T39" fmla="*/ 79 h 280"/>
              <a:gd name="T40" fmla="*/ 37 w 308"/>
              <a:gd name="T41" fmla="*/ 92 h 280"/>
              <a:gd name="T42" fmla="*/ 56 w 308"/>
              <a:gd name="T43" fmla="*/ 183 h 280"/>
              <a:gd name="T44" fmla="*/ 31 w 308"/>
              <a:gd name="T45" fmla="*/ 207 h 280"/>
              <a:gd name="T46" fmla="*/ 56 w 308"/>
              <a:gd name="T47" fmla="*/ 231 h 280"/>
              <a:gd name="T48" fmla="*/ 73 w 308"/>
              <a:gd name="T49" fmla="*/ 190 h 280"/>
              <a:gd name="T50" fmla="*/ 63 w 308"/>
              <a:gd name="T51" fmla="*/ 215 h 280"/>
              <a:gd name="T52" fmla="*/ 47 w 308"/>
              <a:gd name="T53" fmla="*/ 215 h 280"/>
              <a:gd name="T54" fmla="*/ 48 w 308"/>
              <a:gd name="T55" fmla="*/ 199 h 280"/>
              <a:gd name="T56" fmla="*/ 64 w 308"/>
              <a:gd name="T57" fmla="*/ 199 h 280"/>
              <a:gd name="T58" fmla="*/ 234 w 308"/>
              <a:gd name="T59" fmla="*/ 115 h 280"/>
              <a:gd name="T60" fmla="*/ 278 w 308"/>
              <a:gd name="T61" fmla="*/ 109 h 280"/>
              <a:gd name="T62" fmla="*/ 228 w 308"/>
              <a:gd name="T63" fmla="*/ 109 h 280"/>
              <a:gd name="T64" fmla="*/ 234 w 308"/>
              <a:gd name="T65" fmla="*/ 139 h 280"/>
              <a:gd name="T66" fmla="*/ 272 w 308"/>
              <a:gd name="T67" fmla="*/ 126 h 280"/>
              <a:gd name="T68" fmla="*/ 234 w 308"/>
              <a:gd name="T69" fmla="*/ 139 h 280"/>
              <a:gd name="T70" fmla="*/ 272 w 308"/>
              <a:gd name="T71" fmla="*/ 92 h 280"/>
              <a:gd name="T72" fmla="*/ 234 w 308"/>
              <a:gd name="T73" fmla="*/ 79 h 280"/>
              <a:gd name="T74" fmla="*/ 131 w 308"/>
              <a:gd name="T75" fmla="*/ 127 h 280"/>
              <a:gd name="T76" fmla="*/ 184 w 308"/>
              <a:gd name="T77" fmla="*/ 120 h 280"/>
              <a:gd name="T78" fmla="*/ 125 w 308"/>
              <a:gd name="T79" fmla="*/ 120 h 280"/>
              <a:gd name="T80" fmla="*/ 270 w 308"/>
              <a:gd name="T81" fmla="*/ 190 h 280"/>
              <a:gd name="T82" fmla="*/ 236 w 308"/>
              <a:gd name="T83" fmla="*/ 190 h 280"/>
              <a:gd name="T84" fmla="*/ 236 w 308"/>
              <a:gd name="T85" fmla="*/ 224 h 280"/>
              <a:gd name="T86" fmla="*/ 270 w 308"/>
              <a:gd name="T87" fmla="*/ 224 h 280"/>
              <a:gd name="T88" fmla="*/ 270 w 308"/>
              <a:gd name="T89" fmla="*/ 190 h 280"/>
              <a:gd name="T90" fmla="*/ 253 w 308"/>
              <a:gd name="T91" fmla="*/ 218 h 280"/>
              <a:gd name="T92" fmla="*/ 242 w 308"/>
              <a:gd name="T93" fmla="*/ 207 h 280"/>
              <a:gd name="T94" fmla="*/ 253 w 308"/>
              <a:gd name="T95" fmla="*/ 196 h 280"/>
              <a:gd name="T96" fmla="*/ 264 w 308"/>
              <a:gd name="T97" fmla="*/ 207 h 280"/>
              <a:gd name="T98" fmla="*/ 131 w 308"/>
              <a:gd name="T99" fmla="*/ 68 h 280"/>
              <a:gd name="T100" fmla="*/ 178 w 308"/>
              <a:gd name="T101" fmla="*/ 56 h 280"/>
              <a:gd name="T102" fmla="*/ 131 w 308"/>
              <a:gd name="T103" fmla="*/ 68 h 280"/>
              <a:gd name="T104" fmla="*/ 178 w 308"/>
              <a:gd name="T105" fmla="*/ 98 h 280"/>
              <a:gd name="T106" fmla="*/ 131 w 308"/>
              <a:gd name="T107" fmla="*/ 85 h 280"/>
              <a:gd name="T108" fmla="*/ 175 w 308"/>
              <a:gd name="T109" fmla="*/ 192 h 280"/>
              <a:gd name="T110" fmla="*/ 154 w 308"/>
              <a:gd name="T111" fmla="*/ 183 h 280"/>
              <a:gd name="T112" fmla="*/ 126 w 308"/>
              <a:gd name="T113" fmla="*/ 212 h 280"/>
              <a:gd name="T114" fmla="*/ 174 w 308"/>
              <a:gd name="T115" fmla="*/ 232 h 280"/>
              <a:gd name="T116" fmla="*/ 175 w 308"/>
              <a:gd name="T117" fmla="*/ 192 h 280"/>
              <a:gd name="T118" fmla="*/ 154 w 308"/>
              <a:gd name="T119" fmla="*/ 227 h 280"/>
              <a:gd name="T120" fmla="*/ 144 w 308"/>
              <a:gd name="T121" fmla="*/ 222 h 280"/>
              <a:gd name="T122" fmla="*/ 144 w 308"/>
              <a:gd name="T123" fmla="*/ 201 h 280"/>
              <a:gd name="T124" fmla="*/ 165 w 308"/>
              <a:gd name="T125" fmla="*/ 201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8" h="280">
                <a:moveTo>
                  <a:pt x="37" y="139"/>
                </a:moveTo>
                <a:cubicBezTo>
                  <a:pt x="74" y="139"/>
                  <a:pt x="74" y="139"/>
                  <a:pt x="74" y="139"/>
                </a:cubicBezTo>
                <a:cubicBezTo>
                  <a:pt x="78" y="139"/>
                  <a:pt x="81" y="136"/>
                  <a:pt x="81" y="133"/>
                </a:cubicBezTo>
                <a:cubicBezTo>
                  <a:pt x="81" y="129"/>
                  <a:pt x="78" y="126"/>
                  <a:pt x="74" y="126"/>
                </a:cubicBezTo>
                <a:cubicBezTo>
                  <a:pt x="37" y="126"/>
                  <a:pt x="37" y="126"/>
                  <a:pt x="37" y="126"/>
                </a:cubicBezTo>
                <a:cubicBezTo>
                  <a:pt x="33" y="126"/>
                  <a:pt x="30" y="129"/>
                  <a:pt x="30" y="133"/>
                </a:cubicBezTo>
                <a:cubicBezTo>
                  <a:pt x="30" y="136"/>
                  <a:pt x="33" y="139"/>
                  <a:pt x="37" y="139"/>
                </a:cubicBezTo>
                <a:close/>
                <a:moveTo>
                  <a:pt x="37" y="115"/>
                </a:moveTo>
                <a:cubicBezTo>
                  <a:pt x="37" y="115"/>
                  <a:pt x="37" y="115"/>
                  <a:pt x="37" y="115"/>
                </a:cubicBezTo>
                <a:cubicBezTo>
                  <a:pt x="74" y="115"/>
                  <a:pt x="74" y="115"/>
                  <a:pt x="74" y="115"/>
                </a:cubicBezTo>
                <a:cubicBezTo>
                  <a:pt x="78" y="115"/>
                  <a:pt x="81" y="113"/>
                  <a:pt x="81" y="109"/>
                </a:cubicBezTo>
                <a:cubicBezTo>
                  <a:pt x="81" y="105"/>
                  <a:pt x="78" y="103"/>
                  <a:pt x="74" y="103"/>
                </a:cubicBezTo>
                <a:cubicBezTo>
                  <a:pt x="37" y="103"/>
                  <a:pt x="37" y="103"/>
                  <a:pt x="37" y="103"/>
                </a:cubicBezTo>
                <a:cubicBezTo>
                  <a:pt x="33" y="103"/>
                  <a:pt x="30" y="105"/>
                  <a:pt x="30" y="109"/>
                </a:cubicBezTo>
                <a:cubicBezTo>
                  <a:pt x="30" y="113"/>
                  <a:pt x="33" y="115"/>
                  <a:pt x="37" y="115"/>
                </a:cubicBezTo>
                <a:close/>
                <a:moveTo>
                  <a:pt x="297" y="33"/>
                </a:moveTo>
                <a:cubicBezTo>
                  <a:pt x="297" y="33"/>
                  <a:pt x="297" y="33"/>
                  <a:pt x="297" y="33"/>
                </a:cubicBezTo>
                <a:cubicBezTo>
                  <a:pt x="220" y="33"/>
                  <a:pt x="220" y="33"/>
                  <a:pt x="220" y="33"/>
                </a:cubicBezTo>
                <a:cubicBezTo>
                  <a:pt x="220" y="11"/>
                  <a:pt x="220" y="11"/>
                  <a:pt x="220" y="11"/>
                </a:cubicBezTo>
                <a:cubicBezTo>
                  <a:pt x="220" y="5"/>
                  <a:pt x="215" y="0"/>
                  <a:pt x="209" y="0"/>
                </a:cubicBezTo>
                <a:cubicBezTo>
                  <a:pt x="100" y="0"/>
                  <a:pt x="100" y="0"/>
                  <a:pt x="100" y="0"/>
                </a:cubicBezTo>
                <a:cubicBezTo>
                  <a:pt x="94" y="0"/>
                  <a:pt x="89" y="5"/>
                  <a:pt x="89" y="11"/>
                </a:cubicBezTo>
                <a:cubicBezTo>
                  <a:pt x="89" y="33"/>
                  <a:pt x="89" y="33"/>
                  <a:pt x="89" y="33"/>
                </a:cubicBezTo>
                <a:cubicBezTo>
                  <a:pt x="11" y="33"/>
                  <a:pt x="11" y="33"/>
                  <a:pt x="11" y="33"/>
                </a:cubicBezTo>
                <a:cubicBezTo>
                  <a:pt x="5" y="33"/>
                  <a:pt x="0" y="38"/>
                  <a:pt x="0" y="44"/>
                </a:cubicBezTo>
                <a:cubicBezTo>
                  <a:pt x="0" y="254"/>
                  <a:pt x="0" y="254"/>
                  <a:pt x="0" y="254"/>
                </a:cubicBezTo>
                <a:cubicBezTo>
                  <a:pt x="0" y="260"/>
                  <a:pt x="5" y="265"/>
                  <a:pt x="11" y="265"/>
                </a:cubicBezTo>
                <a:cubicBezTo>
                  <a:pt x="89" y="265"/>
                  <a:pt x="89" y="265"/>
                  <a:pt x="89" y="265"/>
                </a:cubicBezTo>
                <a:cubicBezTo>
                  <a:pt x="89" y="270"/>
                  <a:pt x="89" y="270"/>
                  <a:pt x="89" y="270"/>
                </a:cubicBezTo>
                <a:cubicBezTo>
                  <a:pt x="89" y="276"/>
                  <a:pt x="94" y="280"/>
                  <a:pt x="100" y="280"/>
                </a:cubicBezTo>
                <a:cubicBezTo>
                  <a:pt x="209" y="280"/>
                  <a:pt x="209" y="280"/>
                  <a:pt x="209" y="280"/>
                </a:cubicBezTo>
                <a:cubicBezTo>
                  <a:pt x="215" y="280"/>
                  <a:pt x="220" y="276"/>
                  <a:pt x="220" y="270"/>
                </a:cubicBezTo>
                <a:cubicBezTo>
                  <a:pt x="220" y="265"/>
                  <a:pt x="220" y="265"/>
                  <a:pt x="220" y="265"/>
                </a:cubicBezTo>
                <a:cubicBezTo>
                  <a:pt x="297" y="265"/>
                  <a:pt x="297" y="265"/>
                  <a:pt x="297" y="265"/>
                </a:cubicBezTo>
                <a:cubicBezTo>
                  <a:pt x="303" y="265"/>
                  <a:pt x="308" y="260"/>
                  <a:pt x="308" y="254"/>
                </a:cubicBezTo>
                <a:cubicBezTo>
                  <a:pt x="308" y="44"/>
                  <a:pt x="308" y="44"/>
                  <a:pt x="308" y="44"/>
                </a:cubicBezTo>
                <a:cubicBezTo>
                  <a:pt x="308" y="38"/>
                  <a:pt x="303" y="33"/>
                  <a:pt x="297" y="33"/>
                </a:cubicBezTo>
                <a:close/>
                <a:moveTo>
                  <a:pt x="89" y="243"/>
                </a:moveTo>
                <a:cubicBezTo>
                  <a:pt x="89" y="243"/>
                  <a:pt x="89" y="243"/>
                  <a:pt x="89" y="243"/>
                </a:cubicBezTo>
                <a:cubicBezTo>
                  <a:pt x="22" y="243"/>
                  <a:pt x="22" y="243"/>
                  <a:pt x="22" y="243"/>
                </a:cubicBezTo>
                <a:cubicBezTo>
                  <a:pt x="22" y="54"/>
                  <a:pt x="22" y="54"/>
                  <a:pt x="22" y="54"/>
                </a:cubicBezTo>
                <a:cubicBezTo>
                  <a:pt x="89" y="54"/>
                  <a:pt x="89" y="54"/>
                  <a:pt x="89" y="54"/>
                </a:cubicBezTo>
                <a:cubicBezTo>
                  <a:pt x="89" y="243"/>
                  <a:pt x="89" y="243"/>
                  <a:pt x="89" y="243"/>
                </a:cubicBezTo>
                <a:close/>
                <a:moveTo>
                  <a:pt x="198" y="259"/>
                </a:moveTo>
                <a:cubicBezTo>
                  <a:pt x="198" y="259"/>
                  <a:pt x="198" y="259"/>
                  <a:pt x="198" y="259"/>
                </a:cubicBezTo>
                <a:cubicBezTo>
                  <a:pt x="111" y="259"/>
                  <a:pt x="111" y="259"/>
                  <a:pt x="111" y="259"/>
                </a:cubicBezTo>
                <a:cubicBezTo>
                  <a:pt x="111" y="22"/>
                  <a:pt x="111" y="22"/>
                  <a:pt x="111" y="22"/>
                </a:cubicBezTo>
                <a:cubicBezTo>
                  <a:pt x="198" y="22"/>
                  <a:pt x="198" y="22"/>
                  <a:pt x="198" y="22"/>
                </a:cubicBezTo>
                <a:cubicBezTo>
                  <a:pt x="198" y="259"/>
                  <a:pt x="198" y="259"/>
                  <a:pt x="198" y="259"/>
                </a:cubicBezTo>
                <a:close/>
                <a:moveTo>
                  <a:pt x="286" y="243"/>
                </a:moveTo>
                <a:cubicBezTo>
                  <a:pt x="286" y="243"/>
                  <a:pt x="286" y="243"/>
                  <a:pt x="286" y="243"/>
                </a:cubicBezTo>
                <a:cubicBezTo>
                  <a:pt x="220" y="243"/>
                  <a:pt x="220" y="243"/>
                  <a:pt x="220" y="243"/>
                </a:cubicBezTo>
                <a:cubicBezTo>
                  <a:pt x="220" y="54"/>
                  <a:pt x="220" y="54"/>
                  <a:pt x="220" y="54"/>
                </a:cubicBezTo>
                <a:cubicBezTo>
                  <a:pt x="286" y="54"/>
                  <a:pt x="286" y="54"/>
                  <a:pt x="286" y="54"/>
                </a:cubicBezTo>
                <a:cubicBezTo>
                  <a:pt x="286" y="243"/>
                  <a:pt x="286" y="243"/>
                  <a:pt x="286" y="243"/>
                </a:cubicBezTo>
                <a:close/>
                <a:moveTo>
                  <a:pt x="37" y="92"/>
                </a:moveTo>
                <a:cubicBezTo>
                  <a:pt x="37" y="92"/>
                  <a:pt x="37" y="92"/>
                  <a:pt x="37" y="92"/>
                </a:cubicBezTo>
                <a:cubicBezTo>
                  <a:pt x="74" y="92"/>
                  <a:pt x="74" y="92"/>
                  <a:pt x="74" y="92"/>
                </a:cubicBezTo>
                <a:cubicBezTo>
                  <a:pt x="78" y="92"/>
                  <a:pt x="81" y="89"/>
                  <a:pt x="81" y="85"/>
                </a:cubicBezTo>
                <a:cubicBezTo>
                  <a:pt x="81" y="82"/>
                  <a:pt x="78" y="79"/>
                  <a:pt x="74" y="79"/>
                </a:cubicBezTo>
                <a:cubicBezTo>
                  <a:pt x="37" y="79"/>
                  <a:pt x="37" y="79"/>
                  <a:pt x="37" y="79"/>
                </a:cubicBezTo>
                <a:cubicBezTo>
                  <a:pt x="33" y="79"/>
                  <a:pt x="30" y="82"/>
                  <a:pt x="30" y="85"/>
                </a:cubicBezTo>
                <a:cubicBezTo>
                  <a:pt x="30" y="89"/>
                  <a:pt x="33" y="92"/>
                  <a:pt x="37" y="92"/>
                </a:cubicBezTo>
                <a:close/>
                <a:moveTo>
                  <a:pt x="73" y="190"/>
                </a:moveTo>
                <a:cubicBezTo>
                  <a:pt x="73" y="190"/>
                  <a:pt x="73" y="190"/>
                  <a:pt x="73" y="190"/>
                </a:cubicBezTo>
                <a:cubicBezTo>
                  <a:pt x="68" y="186"/>
                  <a:pt x="62" y="183"/>
                  <a:pt x="56" y="183"/>
                </a:cubicBezTo>
                <a:cubicBezTo>
                  <a:pt x="49" y="183"/>
                  <a:pt x="43" y="186"/>
                  <a:pt x="38" y="190"/>
                </a:cubicBezTo>
                <a:cubicBezTo>
                  <a:pt x="38" y="190"/>
                  <a:pt x="38" y="190"/>
                  <a:pt x="38" y="190"/>
                </a:cubicBezTo>
                <a:cubicBezTo>
                  <a:pt x="34" y="194"/>
                  <a:pt x="31" y="200"/>
                  <a:pt x="31" y="207"/>
                </a:cubicBezTo>
                <a:cubicBezTo>
                  <a:pt x="31" y="213"/>
                  <a:pt x="34" y="219"/>
                  <a:pt x="38" y="224"/>
                </a:cubicBezTo>
                <a:cubicBezTo>
                  <a:pt x="38" y="224"/>
                  <a:pt x="38" y="224"/>
                  <a:pt x="38" y="224"/>
                </a:cubicBezTo>
                <a:cubicBezTo>
                  <a:pt x="43" y="228"/>
                  <a:pt x="49" y="231"/>
                  <a:pt x="56" y="231"/>
                </a:cubicBezTo>
                <a:cubicBezTo>
                  <a:pt x="62" y="231"/>
                  <a:pt x="68" y="228"/>
                  <a:pt x="73" y="224"/>
                </a:cubicBezTo>
                <a:cubicBezTo>
                  <a:pt x="77" y="220"/>
                  <a:pt x="80" y="214"/>
                  <a:pt x="80" y="207"/>
                </a:cubicBezTo>
                <a:cubicBezTo>
                  <a:pt x="80" y="201"/>
                  <a:pt x="77" y="195"/>
                  <a:pt x="73" y="190"/>
                </a:cubicBezTo>
                <a:cubicBezTo>
                  <a:pt x="73" y="190"/>
                  <a:pt x="73" y="190"/>
                  <a:pt x="73" y="190"/>
                </a:cubicBezTo>
                <a:close/>
                <a:moveTo>
                  <a:pt x="63" y="215"/>
                </a:moveTo>
                <a:cubicBezTo>
                  <a:pt x="63" y="215"/>
                  <a:pt x="63" y="215"/>
                  <a:pt x="63" y="215"/>
                </a:cubicBezTo>
                <a:cubicBezTo>
                  <a:pt x="61" y="217"/>
                  <a:pt x="59" y="218"/>
                  <a:pt x="56" y="218"/>
                </a:cubicBezTo>
                <a:cubicBezTo>
                  <a:pt x="52" y="218"/>
                  <a:pt x="50" y="217"/>
                  <a:pt x="48" y="215"/>
                </a:cubicBezTo>
                <a:cubicBezTo>
                  <a:pt x="47" y="215"/>
                  <a:pt x="47" y="215"/>
                  <a:pt x="47" y="215"/>
                </a:cubicBezTo>
                <a:cubicBezTo>
                  <a:pt x="45" y="213"/>
                  <a:pt x="44" y="210"/>
                  <a:pt x="44" y="207"/>
                </a:cubicBezTo>
                <a:cubicBezTo>
                  <a:pt x="44" y="204"/>
                  <a:pt x="46" y="201"/>
                  <a:pt x="48" y="199"/>
                </a:cubicBezTo>
                <a:cubicBezTo>
                  <a:pt x="48" y="199"/>
                  <a:pt x="48" y="199"/>
                  <a:pt x="48" y="199"/>
                </a:cubicBezTo>
                <a:cubicBezTo>
                  <a:pt x="50" y="197"/>
                  <a:pt x="52" y="196"/>
                  <a:pt x="56" y="196"/>
                </a:cubicBezTo>
                <a:cubicBezTo>
                  <a:pt x="59" y="196"/>
                  <a:pt x="61" y="197"/>
                  <a:pt x="63" y="199"/>
                </a:cubicBezTo>
                <a:cubicBezTo>
                  <a:pt x="64" y="199"/>
                  <a:pt x="64" y="199"/>
                  <a:pt x="64" y="199"/>
                </a:cubicBezTo>
                <a:cubicBezTo>
                  <a:pt x="66" y="201"/>
                  <a:pt x="67" y="204"/>
                  <a:pt x="67" y="207"/>
                </a:cubicBezTo>
                <a:cubicBezTo>
                  <a:pt x="67" y="210"/>
                  <a:pt x="65" y="213"/>
                  <a:pt x="63" y="215"/>
                </a:cubicBezTo>
                <a:close/>
                <a:moveTo>
                  <a:pt x="234" y="115"/>
                </a:moveTo>
                <a:cubicBezTo>
                  <a:pt x="234" y="115"/>
                  <a:pt x="234" y="115"/>
                  <a:pt x="234" y="115"/>
                </a:cubicBezTo>
                <a:cubicBezTo>
                  <a:pt x="272" y="115"/>
                  <a:pt x="272" y="115"/>
                  <a:pt x="272" y="115"/>
                </a:cubicBezTo>
                <a:cubicBezTo>
                  <a:pt x="275" y="115"/>
                  <a:pt x="278" y="113"/>
                  <a:pt x="278" y="109"/>
                </a:cubicBezTo>
                <a:cubicBezTo>
                  <a:pt x="278" y="105"/>
                  <a:pt x="275" y="103"/>
                  <a:pt x="272" y="103"/>
                </a:cubicBezTo>
                <a:cubicBezTo>
                  <a:pt x="234" y="103"/>
                  <a:pt x="234" y="103"/>
                  <a:pt x="234" y="103"/>
                </a:cubicBezTo>
                <a:cubicBezTo>
                  <a:pt x="230" y="103"/>
                  <a:pt x="228" y="105"/>
                  <a:pt x="228" y="109"/>
                </a:cubicBezTo>
                <a:cubicBezTo>
                  <a:pt x="228" y="113"/>
                  <a:pt x="230" y="115"/>
                  <a:pt x="234" y="115"/>
                </a:cubicBezTo>
                <a:close/>
                <a:moveTo>
                  <a:pt x="234" y="139"/>
                </a:moveTo>
                <a:cubicBezTo>
                  <a:pt x="234" y="139"/>
                  <a:pt x="234" y="139"/>
                  <a:pt x="234" y="139"/>
                </a:cubicBezTo>
                <a:cubicBezTo>
                  <a:pt x="272" y="139"/>
                  <a:pt x="272" y="139"/>
                  <a:pt x="272" y="139"/>
                </a:cubicBezTo>
                <a:cubicBezTo>
                  <a:pt x="275" y="139"/>
                  <a:pt x="278" y="136"/>
                  <a:pt x="278" y="133"/>
                </a:cubicBezTo>
                <a:cubicBezTo>
                  <a:pt x="278" y="129"/>
                  <a:pt x="275" y="126"/>
                  <a:pt x="272" y="126"/>
                </a:cubicBezTo>
                <a:cubicBezTo>
                  <a:pt x="234" y="126"/>
                  <a:pt x="234" y="126"/>
                  <a:pt x="234" y="126"/>
                </a:cubicBezTo>
                <a:cubicBezTo>
                  <a:pt x="230" y="126"/>
                  <a:pt x="228" y="129"/>
                  <a:pt x="228" y="133"/>
                </a:cubicBezTo>
                <a:cubicBezTo>
                  <a:pt x="228" y="136"/>
                  <a:pt x="230" y="139"/>
                  <a:pt x="234" y="139"/>
                </a:cubicBezTo>
                <a:close/>
                <a:moveTo>
                  <a:pt x="234" y="92"/>
                </a:moveTo>
                <a:cubicBezTo>
                  <a:pt x="234" y="92"/>
                  <a:pt x="234" y="92"/>
                  <a:pt x="234" y="92"/>
                </a:cubicBezTo>
                <a:cubicBezTo>
                  <a:pt x="272" y="92"/>
                  <a:pt x="272" y="92"/>
                  <a:pt x="272" y="92"/>
                </a:cubicBezTo>
                <a:cubicBezTo>
                  <a:pt x="275" y="92"/>
                  <a:pt x="278" y="89"/>
                  <a:pt x="278" y="85"/>
                </a:cubicBezTo>
                <a:cubicBezTo>
                  <a:pt x="278" y="82"/>
                  <a:pt x="275" y="79"/>
                  <a:pt x="272" y="79"/>
                </a:cubicBezTo>
                <a:cubicBezTo>
                  <a:pt x="234" y="79"/>
                  <a:pt x="234" y="79"/>
                  <a:pt x="234" y="79"/>
                </a:cubicBezTo>
                <a:cubicBezTo>
                  <a:pt x="230" y="79"/>
                  <a:pt x="228" y="82"/>
                  <a:pt x="228" y="85"/>
                </a:cubicBezTo>
                <a:cubicBezTo>
                  <a:pt x="228" y="89"/>
                  <a:pt x="230" y="92"/>
                  <a:pt x="234" y="92"/>
                </a:cubicBezTo>
                <a:close/>
                <a:moveTo>
                  <a:pt x="131" y="127"/>
                </a:moveTo>
                <a:cubicBezTo>
                  <a:pt x="131" y="127"/>
                  <a:pt x="131" y="127"/>
                  <a:pt x="131" y="127"/>
                </a:cubicBezTo>
                <a:cubicBezTo>
                  <a:pt x="178" y="127"/>
                  <a:pt x="178" y="127"/>
                  <a:pt x="178" y="127"/>
                </a:cubicBezTo>
                <a:cubicBezTo>
                  <a:pt x="181" y="127"/>
                  <a:pt x="184" y="124"/>
                  <a:pt x="184" y="120"/>
                </a:cubicBezTo>
                <a:cubicBezTo>
                  <a:pt x="184" y="117"/>
                  <a:pt x="181" y="114"/>
                  <a:pt x="178" y="114"/>
                </a:cubicBezTo>
                <a:cubicBezTo>
                  <a:pt x="131" y="114"/>
                  <a:pt x="131" y="114"/>
                  <a:pt x="131" y="114"/>
                </a:cubicBezTo>
                <a:cubicBezTo>
                  <a:pt x="127" y="114"/>
                  <a:pt x="125" y="117"/>
                  <a:pt x="125" y="120"/>
                </a:cubicBezTo>
                <a:cubicBezTo>
                  <a:pt x="125" y="124"/>
                  <a:pt x="127" y="127"/>
                  <a:pt x="131" y="127"/>
                </a:cubicBezTo>
                <a:close/>
                <a:moveTo>
                  <a:pt x="270" y="190"/>
                </a:moveTo>
                <a:cubicBezTo>
                  <a:pt x="270" y="190"/>
                  <a:pt x="270" y="190"/>
                  <a:pt x="270" y="190"/>
                </a:cubicBezTo>
                <a:cubicBezTo>
                  <a:pt x="266" y="186"/>
                  <a:pt x="260" y="183"/>
                  <a:pt x="253" y="183"/>
                </a:cubicBezTo>
                <a:cubicBezTo>
                  <a:pt x="246" y="183"/>
                  <a:pt x="240" y="186"/>
                  <a:pt x="236" y="190"/>
                </a:cubicBezTo>
                <a:cubicBezTo>
                  <a:pt x="236" y="190"/>
                  <a:pt x="236" y="190"/>
                  <a:pt x="236" y="190"/>
                </a:cubicBezTo>
                <a:cubicBezTo>
                  <a:pt x="236" y="190"/>
                  <a:pt x="236" y="190"/>
                  <a:pt x="236" y="190"/>
                </a:cubicBezTo>
                <a:cubicBezTo>
                  <a:pt x="232" y="194"/>
                  <a:pt x="229" y="200"/>
                  <a:pt x="229" y="207"/>
                </a:cubicBezTo>
                <a:cubicBezTo>
                  <a:pt x="229" y="213"/>
                  <a:pt x="231" y="219"/>
                  <a:pt x="236" y="224"/>
                </a:cubicBezTo>
                <a:cubicBezTo>
                  <a:pt x="236" y="224"/>
                  <a:pt x="236" y="224"/>
                  <a:pt x="236" y="224"/>
                </a:cubicBezTo>
                <a:cubicBezTo>
                  <a:pt x="240" y="228"/>
                  <a:pt x="246" y="231"/>
                  <a:pt x="253" y="231"/>
                </a:cubicBezTo>
                <a:cubicBezTo>
                  <a:pt x="260" y="231"/>
                  <a:pt x="266" y="228"/>
                  <a:pt x="270" y="224"/>
                </a:cubicBezTo>
                <a:cubicBezTo>
                  <a:pt x="274" y="220"/>
                  <a:pt x="277" y="214"/>
                  <a:pt x="277" y="207"/>
                </a:cubicBezTo>
                <a:cubicBezTo>
                  <a:pt x="277" y="201"/>
                  <a:pt x="275" y="195"/>
                  <a:pt x="270" y="190"/>
                </a:cubicBezTo>
                <a:cubicBezTo>
                  <a:pt x="270" y="190"/>
                  <a:pt x="270" y="190"/>
                  <a:pt x="270" y="190"/>
                </a:cubicBezTo>
                <a:close/>
                <a:moveTo>
                  <a:pt x="261" y="215"/>
                </a:moveTo>
                <a:cubicBezTo>
                  <a:pt x="261" y="215"/>
                  <a:pt x="261" y="215"/>
                  <a:pt x="261" y="215"/>
                </a:cubicBezTo>
                <a:cubicBezTo>
                  <a:pt x="259" y="217"/>
                  <a:pt x="256" y="218"/>
                  <a:pt x="253" y="218"/>
                </a:cubicBezTo>
                <a:cubicBezTo>
                  <a:pt x="250" y="218"/>
                  <a:pt x="247" y="217"/>
                  <a:pt x="245" y="215"/>
                </a:cubicBezTo>
                <a:cubicBezTo>
                  <a:pt x="245" y="215"/>
                  <a:pt x="245" y="215"/>
                  <a:pt x="245" y="215"/>
                </a:cubicBezTo>
                <a:cubicBezTo>
                  <a:pt x="243" y="213"/>
                  <a:pt x="242" y="210"/>
                  <a:pt x="242" y="207"/>
                </a:cubicBezTo>
                <a:cubicBezTo>
                  <a:pt x="242" y="204"/>
                  <a:pt x="243" y="201"/>
                  <a:pt x="245" y="199"/>
                </a:cubicBezTo>
                <a:cubicBezTo>
                  <a:pt x="245" y="199"/>
                  <a:pt x="245" y="199"/>
                  <a:pt x="245" y="199"/>
                </a:cubicBezTo>
                <a:cubicBezTo>
                  <a:pt x="247" y="197"/>
                  <a:pt x="250" y="196"/>
                  <a:pt x="253" y="196"/>
                </a:cubicBezTo>
                <a:cubicBezTo>
                  <a:pt x="256" y="196"/>
                  <a:pt x="259" y="197"/>
                  <a:pt x="261" y="199"/>
                </a:cubicBezTo>
                <a:cubicBezTo>
                  <a:pt x="261" y="199"/>
                  <a:pt x="261" y="199"/>
                  <a:pt x="261" y="199"/>
                </a:cubicBezTo>
                <a:cubicBezTo>
                  <a:pt x="263" y="201"/>
                  <a:pt x="264" y="204"/>
                  <a:pt x="264" y="207"/>
                </a:cubicBezTo>
                <a:cubicBezTo>
                  <a:pt x="264" y="210"/>
                  <a:pt x="263" y="213"/>
                  <a:pt x="261" y="215"/>
                </a:cubicBezTo>
                <a:close/>
                <a:moveTo>
                  <a:pt x="131" y="68"/>
                </a:moveTo>
                <a:cubicBezTo>
                  <a:pt x="131" y="68"/>
                  <a:pt x="131" y="68"/>
                  <a:pt x="131" y="68"/>
                </a:cubicBezTo>
                <a:cubicBezTo>
                  <a:pt x="178" y="68"/>
                  <a:pt x="178" y="68"/>
                  <a:pt x="178" y="68"/>
                </a:cubicBezTo>
                <a:cubicBezTo>
                  <a:pt x="181" y="68"/>
                  <a:pt x="184" y="66"/>
                  <a:pt x="184" y="62"/>
                </a:cubicBezTo>
                <a:cubicBezTo>
                  <a:pt x="184" y="58"/>
                  <a:pt x="181" y="56"/>
                  <a:pt x="178" y="56"/>
                </a:cubicBezTo>
                <a:cubicBezTo>
                  <a:pt x="131" y="56"/>
                  <a:pt x="131" y="56"/>
                  <a:pt x="131" y="56"/>
                </a:cubicBezTo>
                <a:cubicBezTo>
                  <a:pt x="127" y="56"/>
                  <a:pt x="125" y="58"/>
                  <a:pt x="125" y="62"/>
                </a:cubicBezTo>
                <a:cubicBezTo>
                  <a:pt x="125" y="66"/>
                  <a:pt x="127" y="68"/>
                  <a:pt x="131" y="68"/>
                </a:cubicBezTo>
                <a:close/>
                <a:moveTo>
                  <a:pt x="131" y="98"/>
                </a:moveTo>
                <a:cubicBezTo>
                  <a:pt x="131" y="98"/>
                  <a:pt x="131" y="98"/>
                  <a:pt x="131" y="98"/>
                </a:cubicBezTo>
                <a:cubicBezTo>
                  <a:pt x="178" y="98"/>
                  <a:pt x="178" y="98"/>
                  <a:pt x="178" y="98"/>
                </a:cubicBezTo>
                <a:cubicBezTo>
                  <a:pt x="181" y="98"/>
                  <a:pt x="184" y="95"/>
                  <a:pt x="184" y="91"/>
                </a:cubicBezTo>
                <a:cubicBezTo>
                  <a:pt x="184" y="88"/>
                  <a:pt x="181" y="85"/>
                  <a:pt x="178" y="85"/>
                </a:cubicBezTo>
                <a:cubicBezTo>
                  <a:pt x="131" y="85"/>
                  <a:pt x="131" y="85"/>
                  <a:pt x="131" y="85"/>
                </a:cubicBezTo>
                <a:cubicBezTo>
                  <a:pt x="127" y="85"/>
                  <a:pt x="125" y="88"/>
                  <a:pt x="125" y="91"/>
                </a:cubicBezTo>
                <a:cubicBezTo>
                  <a:pt x="125" y="95"/>
                  <a:pt x="127" y="98"/>
                  <a:pt x="131" y="98"/>
                </a:cubicBezTo>
                <a:close/>
                <a:moveTo>
                  <a:pt x="175" y="192"/>
                </a:moveTo>
                <a:cubicBezTo>
                  <a:pt x="175" y="192"/>
                  <a:pt x="175" y="192"/>
                  <a:pt x="175" y="192"/>
                </a:cubicBezTo>
                <a:cubicBezTo>
                  <a:pt x="174" y="192"/>
                  <a:pt x="174" y="192"/>
                  <a:pt x="174" y="192"/>
                </a:cubicBezTo>
                <a:cubicBezTo>
                  <a:pt x="169" y="187"/>
                  <a:pt x="162" y="183"/>
                  <a:pt x="154" y="183"/>
                </a:cubicBezTo>
                <a:cubicBezTo>
                  <a:pt x="147" y="183"/>
                  <a:pt x="140" y="186"/>
                  <a:pt x="135" y="191"/>
                </a:cubicBezTo>
                <a:cubicBezTo>
                  <a:pt x="134" y="192"/>
                  <a:pt x="134" y="192"/>
                  <a:pt x="134" y="192"/>
                </a:cubicBezTo>
                <a:cubicBezTo>
                  <a:pt x="129" y="197"/>
                  <a:pt x="126" y="204"/>
                  <a:pt x="126" y="212"/>
                </a:cubicBezTo>
                <a:cubicBezTo>
                  <a:pt x="126" y="219"/>
                  <a:pt x="129" y="226"/>
                  <a:pt x="134" y="232"/>
                </a:cubicBezTo>
                <a:cubicBezTo>
                  <a:pt x="139" y="237"/>
                  <a:pt x="147" y="240"/>
                  <a:pt x="154" y="240"/>
                </a:cubicBezTo>
                <a:cubicBezTo>
                  <a:pt x="162" y="240"/>
                  <a:pt x="169" y="237"/>
                  <a:pt x="174" y="232"/>
                </a:cubicBezTo>
                <a:cubicBezTo>
                  <a:pt x="174" y="232"/>
                  <a:pt x="174" y="232"/>
                  <a:pt x="174" y="232"/>
                </a:cubicBezTo>
                <a:cubicBezTo>
                  <a:pt x="179" y="226"/>
                  <a:pt x="182" y="219"/>
                  <a:pt x="182" y="212"/>
                </a:cubicBezTo>
                <a:cubicBezTo>
                  <a:pt x="182" y="204"/>
                  <a:pt x="179" y="197"/>
                  <a:pt x="175" y="192"/>
                </a:cubicBezTo>
                <a:close/>
                <a:moveTo>
                  <a:pt x="165" y="222"/>
                </a:moveTo>
                <a:cubicBezTo>
                  <a:pt x="165" y="222"/>
                  <a:pt x="165" y="222"/>
                  <a:pt x="165" y="222"/>
                </a:cubicBezTo>
                <a:cubicBezTo>
                  <a:pt x="162" y="225"/>
                  <a:pt x="159" y="227"/>
                  <a:pt x="154" y="227"/>
                </a:cubicBezTo>
                <a:cubicBezTo>
                  <a:pt x="150" y="227"/>
                  <a:pt x="146" y="225"/>
                  <a:pt x="144" y="222"/>
                </a:cubicBezTo>
                <a:cubicBezTo>
                  <a:pt x="143" y="222"/>
                  <a:pt x="143" y="222"/>
                  <a:pt x="143" y="222"/>
                </a:cubicBezTo>
                <a:cubicBezTo>
                  <a:pt x="144" y="222"/>
                  <a:pt x="144" y="222"/>
                  <a:pt x="144" y="222"/>
                </a:cubicBezTo>
                <a:cubicBezTo>
                  <a:pt x="141" y="220"/>
                  <a:pt x="139" y="216"/>
                  <a:pt x="139" y="212"/>
                </a:cubicBezTo>
                <a:cubicBezTo>
                  <a:pt x="139" y="207"/>
                  <a:pt x="141" y="204"/>
                  <a:pt x="144" y="201"/>
                </a:cubicBezTo>
                <a:cubicBezTo>
                  <a:pt x="144" y="201"/>
                  <a:pt x="144" y="201"/>
                  <a:pt x="144" y="201"/>
                </a:cubicBezTo>
                <a:cubicBezTo>
                  <a:pt x="147" y="198"/>
                  <a:pt x="150" y="196"/>
                  <a:pt x="154" y="196"/>
                </a:cubicBezTo>
                <a:cubicBezTo>
                  <a:pt x="159" y="196"/>
                  <a:pt x="162" y="198"/>
                  <a:pt x="165" y="201"/>
                </a:cubicBezTo>
                <a:cubicBezTo>
                  <a:pt x="165" y="201"/>
                  <a:pt x="165" y="201"/>
                  <a:pt x="165" y="201"/>
                </a:cubicBezTo>
                <a:cubicBezTo>
                  <a:pt x="168" y="204"/>
                  <a:pt x="169" y="208"/>
                  <a:pt x="169" y="212"/>
                </a:cubicBezTo>
                <a:cubicBezTo>
                  <a:pt x="169" y="216"/>
                  <a:pt x="168" y="220"/>
                  <a:pt x="165" y="22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sz="1200" dirty="0">
              <a:latin typeface="Arial" panose="020B0604020202020204" pitchFamily="34" charset="0"/>
            </a:endParaRPr>
          </a:p>
        </p:txBody>
      </p:sp>
      <p:sp>
        <p:nvSpPr>
          <p:cNvPr id="166" name="Freeform 67"/>
          <p:cNvSpPr>
            <a:spLocks noEditPoints="1"/>
          </p:cNvSpPr>
          <p:nvPr/>
        </p:nvSpPr>
        <p:spPr bwMode="auto">
          <a:xfrm>
            <a:off x="5222418" y="5475789"/>
            <a:ext cx="493995" cy="160339"/>
          </a:xfrm>
          <a:custGeom>
            <a:avLst/>
            <a:gdLst>
              <a:gd name="T0" fmla="*/ 293 w 297"/>
              <a:gd name="T1" fmla="*/ 253 h 293"/>
              <a:gd name="T2" fmla="*/ 249 w 297"/>
              <a:gd name="T3" fmla="*/ 228 h 293"/>
              <a:gd name="T4" fmla="*/ 249 w 297"/>
              <a:gd name="T5" fmla="*/ 118 h 293"/>
              <a:gd name="T6" fmla="*/ 249 w 297"/>
              <a:gd name="T7" fmla="*/ 118 h 293"/>
              <a:gd name="T8" fmla="*/ 249 w 297"/>
              <a:gd name="T9" fmla="*/ 118 h 293"/>
              <a:gd name="T10" fmla="*/ 243 w 297"/>
              <a:gd name="T11" fmla="*/ 108 h 293"/>
              <a:gd name="T12" fmla="*/ 155 w 297"/>
              <a:gd name="T13" fmla="*/ 57 h 293"/>
              <a:gd name="T14" fmla="*/ 155 w 297"/>
              <a:gd name="T15" fmla="*/ 7 h 293"/>
              <a:gd name="T16" fmla="*/ 148 w 297"/>
              <a:gd name="T17" fmla="*/ 0 h 293"/>
              <a:gd name="T18" fmla="*/ 142 w 297"/>
              <a:gd name="T19" fmla="*/ 7 h 293"/>
              <a:gd name="T20" fmla="*/ 142 w 297"/>
              <a:gd name="T21" fmla="*/ 57 h 293"/>
              <a:gd name="T22" fmla="*/ 98 w 297"/>
              <a:gd name="T23" fmla="*/ 83 h 293"/>
              <a:gd name="T24" fmla="*/ 54 w 297"/>
              <a:gd name="T25" fmla="*/ 108 h 293"/>
              <a:gd name="T26" fmla="*/ 49 w 297"/>
              <a:gd name="T27" fmla="*/ 112 h 293"/>
              <a:gd name="T28" fmla="*/ 47 w 297"/>
              <a:gd name="T29" fmla="*/ 118 h 293"/>
              <a:gd name="T30" fmla="*/ 47 w 297"/>
              <a:gd name="T31" fmla="*/ 118 h 293"/>
              <a:gd name="T32" fmla="*/ 47 w 297"/>
              <a:gd name="T33" fmla="*/ 228 h 293"/>
              <a:gd name="T34" fmla="*/ 4 w 297"/>
              <a:gd name="T35" fmla="*/ 253 h 293"/>
              <a:gd name="T36" fmla="*/ 2 w 297"/>
              <a:gd name="T37" fmla="*/ 262 h 293"/>
              <a:gd name="T38" fmla="*/ 11 w 297"/>
              <a:gd name="T39" fmla="*/ 264 h 293"/>
              <a:gd name="T40" fmla="*/ 54 w 297"/>
              <a:gd name="T41" fmla="*/ 239 h 293"/>
              <a:gd name="T42" fmla="*/ 54 w 297"/>
              <a:gd name="T43" fmla="*/ 239 h 293"/>
              <a:gd name="T44" fmla="*/ 98 w 297"/>
              <a:gd name="T45" fmla="*/ 265 h 293"/>
              <a:gd name="T46" fmla="*/ 143 w 297"/>
              <a:gd name="T47" fmla="*/ 291 h 293"/>
              <a:gd name="T48" fmla="*/ 154 w 297"/>
              <a:gd name="T49" fmla="*/ 291 h 293"/>
              <a:gd name="T50" fmla="*/ 243 w 297"/>
              <a:gd name="T51" fmla="*/ 239 h 293"/>
              <a:gd name="T52" fmla="*/ 243 w 297"/>
              <a:gd name="T53" fmla="*/ 239 h 293"/>
              <a:gd name="T54" fmla="*/ 286 w 297"/>
              <a:gd name="T55" fmla="*/ 264 h 293"/>
              <a:gd name="T56" fmla="*/ 295 w 297"/>
              <a:gd name="T57" fmla="*/ 262 h 293"/>
              <a:gd name="T58" fmla="*/ 293 w 297"/>
              <a:gd name="T59" fmla="*/ 253 h 293"/>
              <a:gd name="T60" fmla="*/ 137 w 297"/>
              <a:gd name="T61" fmla="*/ 261 h 293"/>
              <a:gd name="T62" fmla="*/ 137 w 297"/>
              <a:gd name="T63" fmla="*/ 261 h 293"/>
              <a:gd name="T64" fmla="*/ 70 w 297"/>
              <a:gd name="T65" fmla="*/ 222 h 293"/>
              <a:gd name="T66" fmla="*/ 70 w 297"/>
              <a:gd name="T67" fmla="*/ 138 h 293"/>
              <a:gd name="T68" fmla="*/ 137 w 297"/>
              <a:gd name="T69" fmla="*/ 176 h 293"/>
              <a:gd name="T70" fmla="*/ 137 w 297"/>
              <a:gd name="T71" fmla="*/ 261 h 293"/>
              <a:gd name="T72" fmla="*/ 148 w 297"/>
              <a:gd name="T73" fmla="*/ 157 h 293"/>
              <a:gd name="T74" fmla="*/ 148 w 297"/>
              <a:gd name="T75" fmla="*/ 157 h 293"/>
              <a:gd name="T76" fmla="*/ 81 w 297"/>
              <a:gd name="T77" fmla="*/ 118 h 293"/>
              <a:gd name="T78" fmla="*/ 148 w 297"/>
              <a:gd name="T79" fmla="*/ 79 h 293"/>
              <a:gd name="T80" fmla="*/ 216 w 297"/>
              <a:gd name="T81" fmla="*/ 118 h 293"/>
              <a:gd name="T82" fmla="*/ 148 w 297"/>
              <a:gd name="T83" fmla="*/ 157 h 293"/>
              <a:gd name="T84" fmla="*/ 227 w 297"/>
              <a:gd name="T85" fmla="*/ 222 h 293"/>
              <a:gd name="T86" fmla="*/ 227 w 297"/>
              <a:gd name="T87" fmla="*/ 222 h 293"/>
              <a:gd name="T88" fmla="*/ 160 w 297"/>
              <a:gd name="T89" fmla="*/ 261 h 293"/>
              <a:gd name="T90" fmla="*/ 160 w 297"/>
              <a:gd name="T91" fmla="*/ 176 h 293"/>
              <a:gd name="T92" fmla="*/ 227 w 297"/>
              <a:gd name="T93" fmla="*/ 138 h 293"/>
              <a:gd name="T94" fmla="*/ 227 w 297"/>
              <a:gd name="T95" fmla="*/ 22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7" h="293">
                <a:moveTo>
                  <a:pt x="293" y="253"/>
                </a:moveTo>
                <a:cubicBezTo>
                  <a:pt x="249" y="228"/>
                  <a:pt x="249" y="228"/>
                  <a:pt x="249" y="228"/>
                </a:cubicBezTo>
                <a:cubicBezTo>
                  <a:pt x="249" y="118"/>
                  <a:pt x="249" y="118"/>
                  <a:pt x="249" y="118"/>
                </a:cubicBezTo>
                <a:cubicBezTo>
                  <a:pt x="249" y="118"/>
                  <a:pt x="249" y="118"/>
                  <a:pt x="249" y="118"/>
                </a:cubicBezTo>
                <a:cubicBezTo>
                  <a:pt x="249" y="118"/>
                  <a:pt x="249" y="118"/>
                  <a:pt x="249" y="118"/>
                </a:cubicBezTo>
                <a:cubicBezTo>
                  <a:pt x="249" y="114"/>
                  <a:pt x="247" y="110"/>
                  <a:pt x="243" y="108"/>
                </a:cubicBezTo>
                <a:cubicBezTo>
                  <a:pt x="155" y="57"/>
                  <a:pt x="155" y="57"/>
                  <a:pt x="155" y="57"/>
                </a:cubicBezTo>
                <a:cubicBezTo>
                  <a:pt x="155" y="7"/>
                  <a:pt x="155" y="7"/>
                  <a:pt x="155" y="7"/>
                </a:cubicBezTo>
                <a:cubicBezTo>
                  <a:pt x="155" y="4"/>
                  <a:pt x="152" y="0"/>
                  <a:pt x="148" y="0"/>
                </a:cubicBezTo>
                <a:cubicBezTo>
                  <a:pt x="145" y="0"/>
                  <a:pt x="142" y="4"/>
                  <a:pt x="142" y="7"/>
                </a:cubicBezTo>
                <a:cubicBezTo>
                  <a:pt x="142" y="57"/>
                  <a:pt x="142" y="57"/>
                  <a:pt x="142" y="57"/>
                </a:cubicBezTo>
                <a:cubicBezTo>
                  <a:pt x="98" y="83"/>
                  <a:pt x="98" y="83"/>
                  <a:pt x="98" y="83"/>
                </a:cubicBezTo>
                <a:cubicBezTo>
                  <a:pt x="54" y="108"/>
                  <a:pt x="54" y="108"/>
                  <a:pt x="54" y="108"/>
                </a:cubicBezTo>
                <a:cubicBezTo>
                  <a:pt x="52" y="109"/>
                  <a:pt x="50" y="110"/>
                  <a:pt x="49" y="112"/>
                </a:cubicBezTo>
                <a:cubicBezTo>
                  <a:pt x="48" y="114"/>
                  <a:pt x="47" y="116"/>
                  <a:pt x="47" y="118"/>
                </a:cubicBezTo>
                <a:cubicBezTo>
                  <a:pt x="47" y="118"/>
                  <a:pt x="47" y="118"/>
                  <a:pt x="47" y="118"/>
                </a:cubicBezTo>
                <a:cubicBezTo>
                  <a:pt x="47" y="228"/>
                  <a:pt x="47" y="228"/>
                  <a:pt x="47" y="228"/>
                </a:cubicBezTo>
                <a:cubicBezTo>
                  <a:pt x="4" y="253"/>
                  <a:pt x="4" y="253"/>
                  <a:pt x="4" y="253"/>
                </a:cubicBezTo>
                <a:cubicBezTo>
                  <a:pt x="1" y="254"/>
                  <a:pt x="0" y="259"/>
                  <a:pt x="2" y="262"/>
                </a:cubicBezTo>
                <a:cubicBezTo>
                  <a:pt x="4" y="265"/>
                  <a:pt x="8" y="266"/>
                  <a:pt x="11" y="264"/>
                </a:cubicBezTo>
                <a:cubicBezTo>
                  <a:pt x="54" y="239"/>
                  <a:pt x="54" y="239"/>
                  <a:pt x="54" y="239"/>
                </a:cubicBezTo>
                <a:cubicBezTo>
                  <a:pt x="54" y="239"/>
                  <a:pt x="54" y="239"/>
                  <a:pt x="54" y="239"/>
                </a:cubicBezTo>
                <a:cubicBezTo>
                  <a:pt x="98" y="265"/>
                  <a:pt x="98" y="265"/>
                  <a:pt x="98" y="265"/>
                </a:cubicBezTo>
                <a:cubicBezTo>
                  <a:pt x="143" y="291"/>
                  <a:pt x="143" y="291"/>
                  <a:pt x="143" y="291"/>
                </a:cubicBezTo>
                <a:cubicBezTo>
                  <a:pt x="146" y="293"/>
                  <a:pt x="151" y="293"/>
                  <a:pt x="154" y="291"/>
                </a:cubicBezTo>
                <a:cubicBezTo>
                  <a:pt x="243" y="239"/>
                  <a:pt x="243" y="239"/>
                  <a:pt x="243" y="239"/>
                </a:cubicBezTo>
                <a:cubicBezTo>
                  <a:pt x="243" y="239"/>
                  <a:pt x="243" y="239"/>
                  <a:pt x="243" y="239"/>
                </a:cubicBezTo>
                <a:cubicBezTo>
                  <a:pt x="286" y="264"/>
                  <a:pt x="286" y="264"/>
                  <a:pt x="286" y="264"/>
                </a:cubicBezTo>
                <a:cubicBezTo>
                  <a:pt x="289" y="266"/>
                  <a:pt x="293" y="265"/>
                  <a:pt x="295" y="262"/>
                </a:cubicBezTo>
                <a:cubicBezTo>
                  <a:pt x="297" y="259"/>
                  <a:pt x="296" y="254"/>
                  <a:pt x="293" y="253"/>
                </a:cubicBezTo>
                <a:close/>
                <a:moveTo>
                  <a:pt x="137" y="261"/>
                </a:moveTo>
                <a:cubicBezTo>
                  <a:pt x="137" y="261"/>
                  <a:pt x="137" y="261"/>
                  <a:pt x="137" y="261"/>
                </a:cubicBezTo>
                <a:cubicBezTo>
                  <a:pt x="70" y="222"/>
                  <a:pt x="70" y="222"/>
                  <a:pt x="70" y="222"/>
                </a:cubicBezTo>
                <a:cubicBezTo>
                  <a:pt x="70" y="138"/>
                  <a:pt x="70" y="138"/>
                  <a:pt x="70" y="138"/>
                </a:cubicBezTo>
                <a:cubicBezTo>
                  <a:pt x="137" y="176"/>
                  <a:pt x="137" y="176"/>
                  <a:pt x="137" y="176"/>
                </a:cubicBezTo>
                <a:cubicBezTo>
                  <a:pt x="137" y="261"/>
                  <a:pt x="137" y="261"/>
                  <a:pt x="137" y="261"/>
                </a:cubicBezTo>
                <a:close/>
                <a:moveTo>
                  <a:pt x="148" y="157"/>
                </a:moveTo>
                <a:cubicBezTo>
                  <a:pt x="148" y="157"/>
                  <a:pt x="148" y="157"/>
                  <a:pt x="148" y="157"/>
                </a:cubicBezTo>
                <a:cubicBezTo>
                  <a:pt x="81" y="118"/>
                  <a:pt x="81" y="118"/>
                  <a:pt x="81" y="118"/>
                </a:cubicBezTo>
                <a:cubicBezTo>
                  <a:pt x="148" y="79"/>
                  <a:pt x="148" y="79"/>
                  <a:pt x="148" y="79"/>
                </a:cubicBezTo>
                <a:cubicBezTo>
                  <a:pt x="216" y="118"/>
                  <a:pt x="216" y="118"/>
                  <a:pt x="216" y="118"/>
                </a:cubicBezTo>
                <a:cubicBezTo>
                  <a:pt x="148" y="157"/>
                  <a:pt x="148" y="157"/>
                  <a:pt x="148" y="157"/>
                </a:cubicBezTo>
                <a:close/>
                <a:moveTo>
                  <a:pt x="227" y="222"/>
                </a:moveTo>
                <a:cubicBezTo>
                  <a:pt x="227" y="222"/>
                  <a:pt x="227" y="222"/>
                  <a:pt x="227" y="222"/>
                </a:cubicBezTo>
                <a:cubicBezTo>
                  <a:pt x="160" y="261"/>
                  <a:pt x="160" y="261"/>
                  <a:pt x="160" y="261"/>
                </a:cubicBezTo>
                <a:cubicBezTo>
                  <a:pt x="160" y="176"/>
                  <a:pt x="160" y="176"/>
                  <a:pt x="160" y="176"/>
                </a:cubicBezTo>
                <a:cubicBezTo>
                  <a:pt x="227" y="138"/>
                  <a:pt x="227" y="138"/>
                  <a:pt x="227" y="138"/>
                </a:cubicBezTo>
                <a:cubicBezTo>
                  <a:pt x="227" y="222"/>
                  <a:pt x="227" y="222"/>
                  <a:pt x="227" y="22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sz="1200">
              <a:latin typeface="Arial" panose="020B0604020202020204" pitchFamily="34" charset="0"/>
            </a:endParaRPr>
          </a:p>
        </p:txBody>
      </p:sp>
      <p:grpSp>
        <p:nvGrpSpPr>
          <p:cNvPr id="167" name="组合 115"/>
          <p:cNvGrpSpPr/>
          <p:nvPr/>
        </p:nvGrpSpPr>
        <p:grpSpPr>
          <a:xfrm>
            <a:off x="2097125" y="6172665"/>
            <a:ext cx="582921" cy="183267"/>
            <a:chOff x="5593531" y="4687434"/>
            <a:chExt cx="435794" cy="461427"/>
          </a:xfrm>
          <a:solidFill>
            <a:schemeClr val="bg1"/>
          </a:solidFill>
        </p:grpSpPr>
        <p:sp>
          <p:nvSpPr>
            <p:cNvPr id="168" name="Freeform 7"/>
            <p:cNvSpPr>
              <a:spLocks/>
            </p:cNvSpPr>
            <p:nvPr/>
          </p:nvSpPr>
          <p:spPr bwMode="auto">
            <a:xfrm>
              <a:off x="5857210" y="4893875"/>
              <a:ext cx="37177" cy="9638"/>
            </a:xfrm>
            <a:custGeom>
              <a:avLst/>
              <a:gdLst>
                <a:gd name="T0" fmla="*/ 20 w 23"/>
                <a:gd name="T1" fmla="*/ 6 h 6"/>
                <a:gd name="T2" fmla="*/ 23 w 23"/>
                <a:gd name="T3" fmla="*/ 3 h 6"/>
                <a:gd name="T4" fmla="*/ 20 w 23"/>
                <a:gd name="T5" fmla="*/ 0 h 6"/>
                <a:gd name="T6" fmla="*/ 3 w 23"/>
                <a:gd name="T7" fmla="*/ 0 h 6"/>
                <a:gd name="T8" fmla="*/ 0 w 23"/>
                <a:gd name="T9" fmla="*/ 3 h 6"/>
                <a:gd name="T10" fmla="*/ 3 w 23"/>
                <a:gd name="T11" fmla="*/ 6 h 6"/>
                <a:gd name="T12" fmla="*/ 20 w 2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3" h="6">
                  <a:moveTo>
                    <a:pt x="20" y="6"/>
                  </a:moveTo>
                  <a:cubicBezTo>
                    <a:pt x="22" y="6"/>
                    <a:pt x="23" y="5"/>
                    <a:pt x="23" y="3"/>
                  </a:cubicBezTo>
                  <a:cubicBezTo>
                    <a:pt x="23" y="2"/>
                    <a:pt x="22" y="0"/>
                    <a:pt x="20" y="0"/>
                  </a:cubicBezTo>
                  <a:cubicBezTo>
                    <a:pt x="3" y="0"/>
                    <a:pt x="3" y="0"/>
                    <a:pt x="3" y="0"/>
                  </a:cubicBezTo>
                  <a:cubicBezTo>
                    <a:pt x="1" y="0"/>
                    <a:pt x="0" y="2"/>
                    <a:pt x="0" y="3"/>
                  </a:cubicBezTo>
                  <a:cubicBezTo>
                    <a:pt x="0" y="5"/>
                    <a:pt x="1" y="6"/>
                    <a:pt x="3" y="6"/>
                  </a:cubicBezTo>
                  <a:lnTo>
                    <a:pt x="20" y="6"/>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latin typeface="Arial" panose="020B0604020202020204" pitchFamily="34" charset="0"/>
              </a:endParaRPr>
            </a:p>
          </p:txBody>
        </p:sp>
        <p:sp>
          <p:nvSpPr>
            <p:cNvPr id="169" name="Freeform 8"/>
            <p:cNvSpPr>
              <a:spLocks/>
            </p:cNvSpPr>
            <p:nvPr/>
          </p:nvSpPr>
          <p:spPr bwMode="auto">
            <a:xfrm>
              <a:off x="5857210" y="4934494"/>
              <a:ext cx="37177" cy="10327"/>
            </a:xfrm>
            <a:custGeom>
              <a:avLst/>
              <a:gdLst>
                <a:gd name="T0" fmla="*/ 20 w 23"/>
                <a:gd name="T1" fmla="*/ 6 h 6"/>
                <a:gd name="T2" fmla="*/ 23 w 23"/>
                <a:gd name="T3" fmla="*/ 3 h 6"/>
                <a:gd name="T4" fmla="*/ 20 w 23"/>
                <a:gd name="T5" fmla="*/ 0 h 6"/>
                <a:gd name="T6" fmla="*/ 3 w 23"/>
                <a:gd name="T7" fmla="*/ 0 h 6"/>
                <a:gd name="T8" fmla="*/ 0 w 23"/>
                <a:gd name="T9" fmla="*/ 3 h 6"/>
                <a:gd name="T10" fmla="*/ 3 w 23"/>
                <a:gd name="T11" fmla="*/ 6 h 6"/>
                <a:gd name="T12" fmla="*/ 20 w 2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3" h="6">
                  <a:moveTo>
                    <a:pt x="20" y="6"/>
                  </a:moveTo>
                  <a:cubicBezTo>
                    <a:pt x="22" y="6"/>
                    <a:pt x="23" y="5"/>
                    <a:pt x="23" y="3"/>
                  </a:cubicBezTo>
                  <a:cubicBezTo>
                    <a:pt x="23" y="1"/>
                    <a:pt x="22" y="0"/>
                    <a:pt x="20" y="0"/>
                  </a:cubicBezTo>
                  <a:cubicBezTo>
                    <a:pt x="3" y="0"/>
                    <a:pt x="3" y="0"/>
                    <a:pt x="3" y="0"/>
                  </a:cubicBezTo>
                  <a:cubicBezTo>
                    <a:pt x="1" y="0"/>
                    <a:pt x="0" y="1"/>
                    <a:pt x="0" y="3"/>
                  </a:cubicBezTo>
                  <a:cubicBezTo>
                    <a:pt x="0" y="5"/>
                    <a:pt x="1" y="6"/>
                    <a:pt x="3" y="6"/>
                  </a:cubicBezTo>
                  <a:lnTo>
                    <a:pt x="20" y="6"/>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latin typeface="Arial" panose="020B0604020202020204" pitchFamily="34" charset="0"/>
              </a:endParaRPr>
            </a:p>
          </p:txBody>
        </p:sp>
        <p:sp>
          <p:nvSpPr>
            <p:cNvPr id="170" name="Freeform 9"/>
            <p:cNvSpPr>
              <a:spLocks/>
            </p:cNvSpPr>
            <p:nvPr/>
          </p:nvSpPr>
          <p:spPr bwMode="auto">
            <a:xfrm>
              <a:off x="5857210" y="4975113"/>
              <a:ext cx="37177" cy="10327"/>
            </a:xfrm>
            <a:custGeom>
              <a:avLst/>
              <a:gdLst>
                <a:gd name="T0" fmla="*/ 20 w 23"/>
                <a:gd name="T1" fmla="*/ 6 h 6"/>
                <a:gd name="T2" fmla="*/ 23 w 23"/>
                <a:gd name="T3" fmla="*/ 3 h 6"/>
                <a:gd name="T4" fmla="*/ 20 w 23"/>
                <a:gd name="T5" fmla="*/ 0 h 6"/>
                <a:gd name="T6" fmla="*/ 3 w 23"/>
                <a:gd name="T7" fmla="*/ 0 h 6"/>
                <a:gd name="T8" fmla="*/ 0 w 23"/>
                <a:gd name="T9" fmla="*/ 3 h 6"/>
                <a:gd name="T10" fmla="*/ 3 w 23"/>
                <a:gd name="T11" fmla="*/ 6 h 6"/>
                <a:gd name="T12" fmla="*/ 20 w 2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3" h="6">
                  <a:moveTo>
                    <a:pt x="20" y="6"/>
                  </a:moveTo>
                  <a:cubicBezTo>
                    <a:pt x="22" y="6"/>
                    <a:pt x="23" y="4"/>
                    <a:pt x="23" y="3"/>
                  </a:cubicBezTo>
                  <a:cubicBezTo>
                    <a:pt x="23" y="1"/>
                    <a:pt x="22" y="0"/>
                    <a:pt x="20" y="0"/>
                  </a:cubicBezTo>
                  <a:cubicBezTo>
                    <a:pt x="3" y="0"/>
                    <a:pt x="3" y="0"/>
                    <a:pt x="3" y="0"/>
                  </a:cubicBezTo>
                  <a:cubicBezTo>
                    <a:pt x="1" y="0"/>
                    <a:pt x="0" y="1"/>
                    <a:pt x="0" y="3"/>
                  </a:cubicBezTo>
                  <a:cubicBezTo>
                    <a:pt x="0" y="4"/>
                    <a:pt x="1" y="6"/>
                    <a:pt x="3" y="6"/>
                  </a:cubicBezTo>
                  <a:lnTo>
                    <a:pt x="20" y="6"/>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latin typeface="Arial" panose="020B0604020202020204" pitchFamily="34" charset="0"/>
              </a:endParaRPr>
            </a:p>
          </p:txBody>
        </p:sp>
        <p:sp>
          <p:nvSpPr>
            <p:cNvPr id="171" name="Freeform 10"/>
            <p:cNvSpPr>
              <a:spLocks/>
            </p:cNvSpPr>
            <p:nvPr/>
          </p:nvSpPr>
          <p:spPr bwMode="auto">
            <a:xfrm>
              <a:off x="5728469" y="4975113"/>
              <a:ext cx="39242" cy="10327"/>
            </a:xfrm>
            <a:custGeom>
              <a:avLst/>
              <a:gdLst>
                <a:gd name="T0" fmla="*/ 21 w 24"/>
                <a:gd name="T1" fmla="*/ 6 h 6"/>
                <a:gd name="T2" fmla="*/ 24 w 24"/>
                <a:gd name="T3" fmla="*/ 3 h 6"/>
                <a:gd name="T4" fmla="*/ 21 w 24"/>
                <a:gd name="T5" fmla="*/ 0 h 6"/>
                <a:gd name="T6" fmla="*/ 3 w 24"/>
                <a:gd name="T7" fmla="*/ 0 h 6"/>
                <a:gd name="T8" fmla="*/ 0 w 24"/>
                <a:gd name="T9" fmla="*/ 3 h 6"/>
                <a:gd name="T10" fmla="*/ 3 w 24"/>
                <a:gd name="T11" fmla="*/ 6 h 6"/>
                <a:gd name="T12" fmla="*/ 21 w 2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4" h="6">
                  <a:moveTo>
                    <a:pt x="21" y="6"/>
                  </a:moveTo>
                  <a:cubicBezTo>
                    <a:pt x="22" y="6"/>
                    <a:pt x="24" y="4"/>
                    <a:pt x="24" y="3"/>
                  </a:cubicBezTo>
                  <a:cubicBezTo>
                    <a:pt x="24" y="1"/>
                    <a:pt x="22" y="0"/>
                    <a:pt x="21" y="0"/>
                  </a:cubicBezTo>
                  <a:cubicBezTo>
                    <a:pt x="3" y="0"/>
                    <a:pt x="3" y="0"/>
                    <a:pt x="3" y="0"/>
                  </a:cubicBezTo>
                  <a:cubicBezTo>
                    <a:pt x="2" y="0"/>
                    <a:pt x="0" y="1"/>
                    <a:pt x="0" y="3"/>
                  </a:cubicBezTo>
                  <a:cubicBezTo>
                    <a:pt x="0" y="4"/>
                    <a:pt x="2" y="6"/>
                    <a:pt x="3" y="6"/>
                  </a:cubicBezTo>
                  <a:lnTo>
                    <a:pt x="21" y="6"/>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latin typeface="Arial" panose="020B0604020202020204" pitchFamily="34" charset="0"/>
              </a:endParaRPr>
            </a:p>
          </p:txBody>
        </p:sp>
        <p:sp>
          <p:nvSpPr>
            <p:cNvPr id="172" name="Freeform 11"/>
            <p:cNvSpPr>
              <a:spLocks/>
            </p:cNvSpPr>
            <p:nvPr/>
          </p:nvSpPr>
          <p:spPr bwMode="auto">
            <a:xfrm>
              <a:off x="5728469" y="5014355"/>
              <a:ext cx="39242" cy="11704"/>
            </a:xfrm>
            <a:custGeom>
              <a:avLst/>
              <a:gdLst>
                <a:gd name="T0" fmla="*/ 21 w 24"/>
                <a:gd name="T1" fmla="*/ 7 h 7"/>
                <a:gd name="T2" fmla="*/ 24 w 24"/>
                <a:gd name="T3" fmla="*/ 4 h 7"/>
                <a:gd name="T4" fmla="*/ 21 w 24"/>
                <a:gd name="T5" fmla="*/ 0 h 7"/>
                <a:gd name="T6" fmla="*/ 3 w 24"/>
                <a:gd name="T7" fmla="*/ 0 h 7"/>
                <a:gd name="T8" fmla="*/ 0 w 24"/>
                <a:gd name="T9" fmla="*/ 4 h 7"/>
                <a:gd name="T10" fmla="*/ 3 w 24"/>
                <a:gd name="T11" fmla="*/ 7 h 7"/>
                <a:gd name="T12" fmla="*/ 21 w 2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4" h="7">
                  <a:moveTo>
                    <a:pt x="21" y="7"/>
                  </a:moveTo>
                  <a:cubicBezTo>
                    <a:pt x="22" y="7"/>
                    <a:pt x="24" y="5"/>
                    <a:pt x="24" y="4"/>
                  </a:cubicBezTo>
                  <a:cubicBezTo>
                    <a:pt x="24" y="2"/>
                    <a:pt x="22" y="0"/>
                    <a:pt x="21" y="0"/>
                  </a:cubicBezTo>
                  <a:cubicBezTo>
                    <a:pt x="3" y="0"/>
                    <a:pt x="3" y="0"/>
                    <a:pt x="3" y="0"/>
                  </a:cubicBezTo>
                  <a:cubicBezTo>
                    <a:pt x="2" y="0"/>
                    <a:pt x="0" y="2"/>
                    <a:pt x="0" y="4"/>
                  </a:cubicBezTo>
                  <a:cubicBezTo>
                    <a:pt x="0" y="5"/>
                    <a:pt x="2" y="7"/>
                    <a:pt x="3" y="7"/>
                  </a:cubicBezTo>
                  <a:lnTo>
                    <a:pt x="21" y="7"/>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latin typeface="Arial" panose="020B0604020202020204" pitchFamily="34" charset="0"/>
              </a:endParaRPr>
            </a:p>
          </p:txBody>
        </p:sp>
        <p:sp>
          <p:nvSpPr>
            <p:cNvPr id="173" name="Freeform 12"/>
            <p:cNvSpPr>
              <a:spLocks/>
            </p:cNvSpPr>
            <p:nvPr/>
          </p:nvSpPr>
          <p:spPr bwMode="auto">
            <a:xfrm>
              <a:off x="5857210" y="5014355"/>
              <a:ext cx="37177" cy="11704"/>
            </a:xfrm>
            <a:custGeom>
              <a:avLst/>
              <a:gdLst>
                <a:gd name="T0" fmla="*/ 20 w 23"/>
                <a:gd name="T1" fmla="*/ 7 h 7"/>
                <a:gd name="T2" fmla="*/ 23 w 23"/>
                <a:gd name="T3" fmla="*/ 4 h 7"/>
                <a:gd name="T4" fmla="*/ 20 w 23"/>
                <a:gd name="T5" fmla="*/ 0 h 7"/>
                <a:gd name="T6" fmla="*/ 3 w 23"/>
                <a:gd name="T7" fmla="*/ 0 h 7"/>
                <a:gd name="T8" fmla="*/ 0 w 23"/>
                <a:gd name="T9" fmla="*/ 4 h 7"/>
                <a:gd name="T10" fmla="*/ 3 w 23"/>
                <a:gd name="T11" fmla="*/ 7 h 7"/>
                <a:gd name="T12" fmla="*/ 20 w 23"/>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3" h="7">
                  <a:moveTo>
                    <a:pt x="20" y="7"/>
                  </a:moveTo>
                  <a:cubicBezTo>
                    <a:pt x="22" y="7"/>
                    <a:pt x="23" y="5"/>
                    <a:pt x="23" y="4"/>
                  </a:cubicBezTo>
                  <a:cubicBezTo>
                    <a:pt x="23" y="2"/>
                    <a:pt x="22" y="0"/>
                    <a:pt x="20" y="0"/>
                  </a:cubicBezTo>
                  <a:cubicBezTo>
                    <a:pt x="3" y="0"/>
                    <a:pt x="3" y="0"/>
                    <a:pt x="3" y="0"/>
                  </a:cubicBezTo>
                  <a:cubicBezTo>
                    <a:pt x="1" y="0"/>
                    <a:pt x="0" y="2"/>
                    <a:pt x="0" y="4"/>
                  </a:cubicBezTo>
                  <a:cubicBezTo>
                    <a:pt x="0" y="5"/>
                    <a:pt x="1" y="7"/>
                    <a:pt x="3" y="7"/>
                  </a:cubicBezTo>
                  <a:lnTo>
                    <a:pt x="20" y="7"/>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latin typeface="Arial" panose="020B0604020202020204" pitchFamily="34" charset="0"/>
              </a:endParaRPr>
            </a:p>
          </p:txBody>
        </p:sp>
        <p:sp>
          <p:nvSpPr>
            <p:cNvPr id="174" name="Freeform 13"/>
            <p:cNvSpPr>
              <a:spLocks/>
            </p:cNvSpPr>
            <p:nvPr/>
          </p:nvSpPr>
          <p:spPr bwMode="auto">
            <a:xfrm>
              <a:off x="5804888" y="4975113"/>
              <a:ext cx="37865" cy="10327"/>
            </a:xfrm>
            <a:custGeom>
              <a:avLst/>
              <a:gdLst>
                <a:gd name="T0" fmla="*/ 20 w 23"/>
                <a:gd name="T1" fmla="*/ 6 h 6"/>
                <a:gd name="T2" fmla="*/ 23 w 23"/>
                <a:gd name="T3" fmla="*/ 3 h 6"/>
                <a:gd name="T4" fmla="*/ 20 w 23"/>
                <a:gd name="T5" fmla="*/ 0 h 6"/>
                <a:gd name="T6" fmla="*/ 3 w 23"/>
                <a:gd name="T7" fmla="*/ 0 h 6"/>
                <a:gd name="T8" fmla="*/ 0 w 23"/>
                <a:gd name="T9" fmla="*/ 3 h 6"/>
                <a:gd name="T10" fmla="*/ 3 w 23"/>
                <a:gd name="T11" fmla="*/ 6 h 6"/>
                <a:gd name="T12" fmla="*/ 20 w 2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3" h="6">
                  <a:moveTo>
                    <a:pt x="20" y="6"/>
                  </a:moveTo>
                  <a:cubicBezTo>
                    <a:pt x="22" y="6"/>
                    <a:pt x="23" y="4"/>
                    <a:pt x="23" y="3"/>
                  </a:cubicBezTo>
                  <a:cubicBezTo>
                    <a:pt x="23" y="1"/>
                    <a:pt x="22" y="0"/>
                    <a:pt x="20" y="0"/>
                  </a:cubicBezTo>
                  <a:cubicBezTo>
                    <a:pt x="3" y="0"/>
                    <a:pt x="3" y="0"/>
                    <a:pt x="3" y="0"/>
                  </a:cubicBezTo>
                  <a:cubicBezTo>
                    <a:pt x="1" y="0"/>
                    <a:pt x="0" y="1"/>
                    <a:pt x="0" y="3"/>
                  </a:cubicBezTo>
                  <a:cubicBezTo>
                    <a:pt x="0" y="4"/>
                    <a:pt x="1" y="6"/>
                    <a:pt x="3" y="6"/>
                  </a:cubicBezTo>
                  <a:lnTo>
                    <a:pt x="20" y="6"/>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latin typeface="Arial" panose="020B0604020202020204" pitchFamily="34" charset="0"/>
              </a:endParaRPr>
            </a:p>
          </p:txBody>
        </p:sp>
        <p:sp>
          <p:nvSpPr>
            <p:cNvPr id="175" name="Freeform 14"/>
            <p:cNvSpPr>
              <a:spLocks/>
            </p:cNvSpPr>
            <p:nvPr/>
          </p:nvSpPr>
          <p:spPr bwMode="auto">
            <a:xfrm>
              <a:off x="5804888" y="4893875"/>
              <a:ext cx="37865" cy="9638"/>
            </a:xfrm>
            <a:custGeom>
              <a:avLst/>
              <a:gdLst>
                <a:gd name="T0" fmla="*/ 20 w 23"/>
                <a:gd name="T1" fmla="*/ 6 h 6"/>
                <a:gd name="T2" fmla="*/ 23 w 23"/>
                <a:gd name="T3" fmla="*/ 3 h 6"/>
                <a:gd name="T4" fmla="*/ 20 w 23"/>
                <a:gd name="T5" fmla="*/ 0 h 6"/>
                <a:gd name="T6" fmla="*/ 3 w 23"/>
                <a:gd name="T7" fmla="*/ 0 h 6"/>
                <a:gd name="T8" fmla="*/ 0 w 23"/>
                <a:gd name="T9" fmla="*/ 3 h 6"/>
                <a:gd name="T10" fmla="*/ 3 w 23"/>
                <a:gd name="T11" fmla="*/ 6 h 6"/>
                <a:gd name="T12" fmla="*/ 20 w 2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3" h="6">
                  <a:moveTo>
                    <a:pt x="20" y="6"/>
                  </a:moveTo>
                  <a:cubicBezTo>
                    <a:pt x="22" y="6"/>
                    <a:pt x="23" y="5"/>
                    <a:pt x="23" y="3"/>
                  </a:cubicBezTo>
                  <a:cubicBezTo>
                    <a:pt x="23" y="2"/>
                    <a:pt x="22" y="0"/>
                    <a:pt x="20" y="0"/>
                  </a:cubicBezTo>
                  <a:cubicBezTo>
                    <a:pt x="3" y="0"/>
                    <a:pt x="3" y="0"/>
                    <a:pt x="3" y="0"/>
                  </a:cubicBezTo>
                  <a:cubicBezTo>
                    <a:pt x="1" y="0"/>
                    <a:pt x="0" y="2"/>
                    <a:pt x="0" y="3"/>
                  </a:cubicBezTo>
                  <a:cubicBezTo>
                    <a:pt x="0" y="5"/>
                    <a:pt x="1" y="6"/>
                    <a:pt x="3" y="6"/>
                  </a:cubicBezTo>
                  <a:lnTo>
                    <a:pt x="20" y="6"/>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latin typeface="Arial" panose="020B0604020202020204" pitchFamily="34" charset="0"/>
              </a:endParaRPr>
            </a:p>
          </p:txBody>
        </p:sp>
        <p:sp>
          <p:nvSpPr>
            <p:cNvPr id="176" name="Freeform 15"/>
            <p:cNvSpPr>
              <a:spLocks/>
            </p:cNvSpPr>
            <p:nvPr/>
          </p:nvSpPr>
          <p:spPr bwMode="auto">
            <a:xfrm>
              <a:off x="5804888" y="5014355"/>
              <a:ext cx="37865" cy="11704"/>
            </a:xfrm>
            <a:custGeom>
              <a:avLst/>
              <a:gdLst>
                <a:gd name="T0" fmla="*/ 20 w 23"/>
                <a:gd name="T1" fmla="*/ 7 h 7"/>
                <a:gd name="T2" fmla="*/ 23 w 23"/>
                <a:gd name="T3" fmla="*/ 4 h 7"/>
                <a:gd name="T4" fmla="*/ 20 w 23"/>
                <a:gd name="T5" fmla="*/ 0 h 7"/>
                <a:gd name="T6" fmla="*/ 3 w 23"/>
                <a:gd name="T7" fmla="*/ 0 h 7"/>
                <a:gd name="T8" fmla="*/ 0 w 23"/>
                <a:gd name="T9" fmla="*/ 4 h 7"/>
                <a:gd name="T10" fmla="*/ 3 w 23"/>
                <a:gd name="T11" fmla="*/ 7 h 7"/>
                <a:gd name="T12" fmla="*/ 20 w 23"/>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3" h="7">
                  <a:moveTo>
                    <a:pt x="20" y="7"/>
                  </a:moveTo>
                  <a:cubicBezTo>
                    <a:pt x="22" y="7"/>
                    <a:pt x="23" y="5"/>
                    <a:pt x="23" y="4"/>
                  </a:cubicBezTo>
                  <a:cubicBezTo>
                    <a:pt x="23" y="2"/>
                    <a:pt x="22" y="0"/>
                    <a:pt x="20" y="0"/>
                  </a:cubicBezTo>
                  <a:cubicBezTo>
                    <a:pt x="3" y="0"/>
                    <a:pt x="3" y="0"/>
                    <a:pt x="3" y="0"/>
                  </a:cubicBezTo>
                  <a:cubicBezTo>
                    <a:pt x="1" y="0"/>
                    <a:pt x="0" y="2"/>
                    <a:pt x="0" y="4"/>
                  </a:cubicBezTo>
                  <a:cubicBezTo>
                    <a:pt x="0" y="5"/>
                    <a:pt x="1" y="7"/>
                    <a:pt x="3" y="7"/>
                  </a:cubicBezTo>
                  <a:lnTo>
                    <a:pt x="20" y="7"/>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latin typeface="Arial" panose="020B0604020202020204" pitchFamily="34" charset="0"/>
              </a:endParaRPr>
            </a:p>
          </p:txBody>
        </p:sp>
        <p:sp>
          <p:nvSpPr>
            <p:cNvPr id="177" name="Freeform 16"/>
            <p:cNvSpPr>
              <a:spLocks/>
            </p:cNvSpPr>
            <p:nvPr/>
          </p:nvSpPr>
          <p:spPr bwMode="auto">
            <a:xfrm>
              <a:off x="5804888" y="4934494"/>
              <a:ext cx="37865" cy="10327"/>
            </a:xfrm>
            <a:custGeom>
              <a:avLst/>
              <a:gdLst>
                <a:gd name="T0" fmla="*/ 20 w 23"/>
                <a:gd name="T1" fmla="*/ 6 h 6"/>
                <a:gd name="T2" fmla="*/ 23 w 23"/>
                <a:gd name="T3" fmla="*/ 3 h 6"/>
                <a:gd name="T4" fmla="*/ 20 w 23"/>
                <a:gd name="T5" fmla="*/ 0 h 6"/>
                <a:gd name="T6" fmla="*/ 3 w 23"/>
                <a:gd name="T7" fmla="*/ 0 h 6"/>
                <a:gd name="T8" fmla="*/ 0 w 23"/>
                <a:gd name="T9" fmla="*/ 3 h 6"/>
                <a:gd name="T10" fmla="*/ 3 w 23"/>
                <a:gd name="T11" fmla="*/ 6 h 6"/>
                <a:gd name="T12" fmla="*/ 20 w 2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3" h="6">
                  <a:moveTo>
                    <a:pt x="20" y="6"/>
                  </a:moveTo>
                  <a:cubicBezTo>
                    <a:pt x="22" y="6"/>
                    <a:pt x="23" y="5"/>
                    <a:pt x="23" y="3"/>
                  </a:cubicBezTo>
                  <a:cubicBezTo>
                    <a:pt x="23" y="1"/>
                    <a:pt x="22" y="0"/>
                    <a:pt x="20" y="0"/>
                  </a:cubicBezTo>
                  <a:cubicBezTo>
                    <a:pt x="3" y="0"/>
                    <a:pt x="3" y="0"/>
                    <a:pt x="3" y="0"/>
                  </a:cubicBezTo>
                  <a:cubicBezTo>
                    <a:pt x="1" y="0"/>
                    <a:pt x="0" y="1"/>
                    <a:pt x="0" y="3"/>
                  </a:cubicBezTo>
                  <a:cubicBezTo>
                    <a:pt x="0" y="5"/>
                    <a:pt x="1" y="6"/>
                    <a:pt x="3" y="6"/>
                  </a:cubicBezTo>
                  <a:lnTo>
                    <a:pt x="20" y="6"/>
                  </a:ln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latin typeface="Arial" panose="020B0604020202020204" pitchFamily="34" charset="0"/>
              </a:endParaRPr>
            </a:p>
          </p:txBody>
        </p:sp>
        <p:sp>
          <p:nvSpPr>
            <p:cNvPr id="178" name="Freeform 17"/>
            <p:cNvSpPr>
              <a:spLocks noEditPoints="1"/>
            </p:cNvSpPr>
            <p:nvPr/>
          </p:nvSpPr>
          <p:spPr bwMode="auto">
            <a:xfrm>
              <a:off x="5593531" y="4687434"/>
              <a:ext cx="435794" cy="461427"/>
            </a:xfrm>
            <a:custGeom>
              <a:avLst/>
              <a:gdLst>
                <a:gd name="T0" fmla="*/ 268 w 268"/>
                <a:gd name="T1" fmla="*/ 134 h 225"/>
                <a:gd name="T2" fmla="*/ 256 w 268"/>
                <a:gd name="T3" fmla="*/ 100 h 225"/>
                <a:gd name="T4" fmla="*/ 232 w 268"/>
                <a:gd name="T5" fmla="*/ 84 h 225"/>
                <a:gd name="T6" fmla="*/ 206 w 268"/>
                <a:gd name="T7" fmla="*/ 27 h 225"/>
                <a:gd name="T8" fmla="*/ 141 w 268"/>
                <a:gd name="T9" fmla="*/ 0 h 225"/>
                <a:gd name="T10" fmla="*/ 91 w 268"/>
                <a:gd name="T11" fmla="*/ 15 h 225"/>
                <a:gd name="T12" fmla="*/ 59 w 268"/>
                <a:gd name="T13" fmla="*/ 50 h 225"/>
                <a:gd name="T14" fmla="*/ 19 w 268"/>
                <a:gd name="T15" fmla="*/ 71 h 225"/>
                <a:gd name="T16" fmla="*/ 0 w 268"/>
                <a:gd name="T17" fmla="*/ 118 h 225"/>
                <a:gd name="T18" fmla="*/ 21 w 268"/>
                <a:gd name="T19" fmla="*/ 168 h 225"/>
                <a:gd name="T20" fmla="*/ 21 w 268"/>
                <a:gd name="T21" fmla="*/ 168 h 225"/>
                <a:gd name="T22" fmla="*/ 68 w 268"/>
                <a:gd name="T23" fmla="*/ 188 h 225"/>
                <a:gd name="T24" fmla="*/ 68 w 268"/>
                <a:gd name="T25" fmla="*/ 219 h 225"/>
                <a:gd name="T26" fmla="*/ 73 w 268"/>
                <a:gd name="T27" fmla="*/ 225 h 225"/>
                <a:gd name="T28" fmla="*/ 195 w 268"/>
                <a:gd name="T29" fmla="*/ 225 h 225"/>
                <a:gd name="T30" fmla="*/ 201 w 268"/>
                <a:gd name="T31" fmla="*/ 219 h 225"/>
                <a:gd name="T32" fmla="*/ 201 w 268"/>
                <a:gd name="T33" fmla="*/ 188 h 225"/>
                <a:gd name="T34" fmla="*/ 215 w 268"/>
                <a:gd name="T35" fmla="*/ 188 h 225"/>
                <a:gd name="T36" fmla="*/ 253 w 268"/>
                <a:gd name="T37" fmla="*/ 172 h 225"/>
                <a:gd name="T38" fmla="*/ 253 w 268"/>
                <a:gd name="T39" fmla="*/ 172 h 225"/>
                <a:gd name="T40" fmla="*/ 253 w 268"/>
                <a:gd name="T41" fmla="*/ 172 h 225"/>
                <a:gd name="T42" fmla="*/ 268 w 268"/>
                <a:gd name="T43" fmla="*/ 134 h 225"/>
                <a:gd name="T44" fmla="*/ 115 w 268"/>
                <a:gd name="T45" fmla="*/ 214 h 225"/>
                <a:gd name="T46" fmla="*/ 78 w 268"/>
                <a:gd name="T47" fmla="*/ 214 h 225"/>
                <a:gd name="T48" fmla="*/ 78 w 268"/>
                <a:gd name="T49" fmla="*/ 151 h 225"/>
                <a:gd name="T50" fmla="*/ 115 w 268"/>
                <a:gd name="T51" fmla="*/ 151 h 225"/>
                <a:gd name="T52" fmla="*/ 115 w 268"/>
                <a:gd name="T53" fmla="*/ 214 h 225"/>
                <a:gd name="T54" fmla="*/ 190 w 268"/>
                <a:gd name="T55" fmla="*/ 214 h 225"/>
                <a:gd name="T56" fmla="*/ 125 w 268"/>
                <a:gd name="T57" fmla="*/ 214 h 225"/>
                <a:gd name="T58" fmla="*/ 125 w 268"/>
                <a:gd name="T59" fmla="*/ 100 h 225"/>
                <a:gd name="T60" fmla="*/ 190 w 268"/>
                <a:gd name="T61" fmla="*/ 100 h 225"/>
                <a:gd name="T62" fmla="*/ 190 w 268"/>
                <a:gd name="T63" fmla="*/ 214 h 225"/>
                <a:gd name="T64" fmla="*/ 238 w 268"/>
                <a:gd name="T65" fmla="*/ 158 h 225"/>
                <a:gd name="T66" fmla="*/ 215 w 268"/>
                <a:gd name="T67" fmla="*/ 167 h 225"/>
                <a:gd name="T68" fmla="*/ 201 w 268"/>
                <a:gd name="T69" fmla="*/ 167 h 225"/>
                <a:gd name="T70" fmla="*/ 201 w 268"/>
                <a:gd name="T71" fmla="*/ 95 h 225"/>
                <a:gd name="T72" fmla="*/ 195 w 268"/>
                <a:gd name="T73" fmla="*/ 90 h 225"/>
                <a:gd name="T74" fmla="*/ 120 w 268"/>
                <a:gd name="T75" fmla="*/ 90 h 225"/>
                <a:gd name="T76" fmla="*/ 115 w 268"/>
                <a:gd name="T77" fmla="*/ 95 h 225"/>
                <a:gd name="T78" fmla="*/ 115 w 268"/>
                <a:gd name="T79" fmla="*/ 141 h 225"/>
                <a:gd name="T80" fmla="*/ 73 w 268"/>
                <a:gd name="T81" fmla="*/ 141 h 225"/>
                <a:gd name="T82" fmla="*/ 68 w 268"/>
                <a:gd name="T83" fmla="*/ 146 h 225"/>
                <a:gd name="T84" fmla="*/ 68 w 268"/>
                <a:gd name="T85" fmla="*/ 167 h 225"/>
                <a:gd name="T86" fmla="*/ 35 w 268"/>
                <a:gd name="T87" fmla="*/ 153 h 225"/>
                <a:gd name="T88" fmla="*/ 35 w 268"/>
                <a:gd name="T89" fmla="*/ 153 h 225"/>
                <a:gd name="T90" fmla="*/ 21 w 268"/>
                <a:gd name="T91" fmla="*/ 118 h 225"/>
                <a:gd name="T92" fmla="*/ 34 w 268"/>
                <a:gd name="T93" fmla="*/ 85 h 225"/>
                <a:gd name="T94" fmla="*/ 67 w 268"/>
                <a:gd name="T95" fmla="*/ 70 h 225"/>
                <a:gd name="T96" fmla="*/ 76 w 268"/>
                <a:gd name="T97" fmla="*/ 64 h 225"/>
                <a:gd name="T98" fmla="*/ 102 w 268"/>
                <a:gd name="T99" fmla="*/ 32 h 225"/>
                <a:gd name="T100" fmla="*/ 141 w 268"/>
                <a:gd name="T101" fmla="*/ 21 h 225"/>
                <a:gd name="T102" fmla="*/ 191 w 268"/>
                <a:gd name="T103" fmla="*/ 41 h 225"/>
                <a:gd name="T104" fmla="*/ 212 w 268"/>
                <a:gd name="T105" fmla="*/ 92 h 225"/>
                <a:gd name="T106" fmla="*/ 221 w 268"/>
                <a:gd name="T107" fmla="*/ 102 h 225"/>
                <a:gd name="T108" fmla="*/ 240 w 268"/>
                <a:gd name="T109" fmla="*/ 113 h 225"/>
                <a:gd name="T110" fmla="*/ 248 w 268"/>
                <a:gd name="T111" fmla="*/ 134 h 225"/>
                <a:gd name="T112" fmla="*/ 238 w 268"/>
                <a:gd name="T113" fmla="*/ 15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 h="225">
                  <a:moveTo>
                    <a:pt x="268" y="134"/>
                  </a:moveTo>
                  <a:cubicBezTo>
                    <a:pt x="268" y="121"/>
                    <a:pt x="264" y="109"/>
                    <a:pt x="256" y="100"/>
                  </a:cubicBezTo>
                  <a:cubicBezTo>
                    <a:pt x="250" y="92"/>
                    <a:pt x="241" y="87"/>
                    <a:pt x="232" y="84"/>
                  </a:cubicBezTo>
                  <a:cubicBezTo>
                    <a:pt x="230" y="61"/>
                    <a:pt x="221" y="42"/>
                    <a:pt x="206" y="27"/>
                  </a:cubicBezTo>
                  <a:cubicBezTo>
                    <a:pt x="189" y="10"/>
                    <a:pt x="166" y="0"/>
                    <a:pt x="141" y="0"/>
                  </a:cubicBezTo>
                  <a:cubicBezTo>
                    <a:pt x="122" y="0"/>
                    <a:pt x="105" y="6"/>
                    <a:pt x="91" y="15"/>
                  </a:cubicBezTo>
                  <a:cubicBezTo>
                    <a:pt x="77" y="24"/>
                    <a:pt x="67" y="36"/>
                    <a:pt x="59" y="50"/>
                  </a:cubicBezTo>
                  <a:cubicBezTo>
                    <a:pt x="44" y="52"/>
                    <a:pt x="30" y="60"/>
                    <a:pt x="19" y="71"/>
                  </a:cubicBezTo>
                  <a:cubicBezTo>
                    <a:pt x="8" y="83"/>
                    <a:pt x="0" y="100"/>
                    <a:pt x="0" y="118"/>
                  </a:cubicBezTo>
                  <a:cubicBezTo>
                    <a:pt x="0" y="138"/>
                    <a:pt x="8" y="155"/>
                    <a:pt x="21" y="168"/>
                  </a:cubicBezTo>
                  <a:cubicBezTo>
                    <a:pt x="21" y="168"/>
                    <a:pt x="21" y="168"/>
                    <a:pt x="21" y="168"/>
                  </a:cubicBezTo>
                  <a:cubicBezTo>
                    <a:pt x="33" y="180"/>
                    <a:pt x="50" y="187"/>
                    <a:pt x="68" y="188"/>
                  </a:cubicBezTo>
                  <a:cubicBezTo>
                    <a:pt x="68" y="219"/>
                    <a:pt x="68" y="219"/>
                    <a:pt x="68" y="219"/>
                  </a:cubicBezTo>
                  <a:cubicBezTo>
                    <a:pt x="68" y="222"/>
                    <a:pt x="70" y="225"/>
                    <a:pt x="73" y="225"/>
                  </a:cubicBezTo>
                  <a:cubicBezTo>
                    <a:pt x="195" y="225"/>
                    <a:pt x="195" y="225"/>
                    <a:pt x="195" y="225"/>
                  </a:cubicBezTo>
                  <a:cubicBezTo>
                    <a:pt x="198" y="225"/>
                    <a:pt x="201" y="222"/>
                    <a:pt x="201" y="219"/>
                  </a:cubicBezTo>
                  <a:cubicBezTo>
                    <a:pt x="201" y="188"/>
                    <a:pt x="201" y="188"/>
                    <a:pt x="201" y="188"/>
                  </a:cubicBezTo>
                  <a:cubicBezTo>
                    <a:pt x="215" y="188"/>
                    <a:pt x="215" y="188"/>
                    <a:pt x="215" y="188"/>
                  </a:cubicBezTo>
                  <a:cubicBezTo>
                    <a:pt x="230" y="188"/>
                    <a:pt x="243" y="182"/>
                    <a:pt x="253" y="172"/>
                  </a:cubicBezTo>
                  <a:cubicBezTo>
                    <a:pt x="253" y="172"/>
                    <a:pt x="253" y="172"/>
                    <a:pt x="253" y="172"/>
                  </a:cubicBezTo>
                  <a:cubicBezTo>
                    <a:pt x="253" y="172"/>
                    <a:pt x="253" y="172"/>
                    <a:pt x="253" y="172"/>
                  </a:cubicBezTo>
                  <a:cubicBezTo>
                    <a:pt x="263" y="162"/>
                    <a:pt x="268" y="149"/>
                    <a:pt x="268" y="134"/>
                  </a:cubicBezTo>
                  <a:close/>
                  <a:moveTo>
                    <a:pt x="115" y="214"/>
                  </a:moveTo>
                  <a:cubicBezTo>
                    <a:pt x="78" y="214"/>
                    <a:pt x="78" y="214"/>
                    <a:pt x="78" y="214"/>
                  </a:cubicBezTo>
                  <a:cubicBezTo>
                    <a:pt x="78" y="151"/>
                    <a:pt x="78" y="151"/>
                    <a:pt x="78" y="151"/>
                  </a:cubicBezTo>
                  <a:cubicBezTo>
                    <a:pt x="115" y="151"/>
                    <a:pt x="115" y="151"/>
                    <a:pt x="115" y="151"/>
                  </a:cubicBezTo>
                  <a:lnTo>
                    <a:pt x="115" y="214"/>
                  </a:lnTo>
                  <a:close/>
                  <a:moveTo>
                    <a:pt x="190" y="214"/>
                  </a:moveTo>
                  <a:cubicBezTo>
                    <a:pt x="125" y="214"/>
                    <a:pt x="125" y="214"/>
                    <a:pt x="125" y="214"/>
                  </a:cubicBezTo>
                  <a:cubicBezTo>
                    <a:pt x="125" y="100"/>
                    <a:pt x="125" y="100"/>
                    <a:pt x="125" y="100"/>
                  </a:cubicBezTo>
                  <a:cubicBezTo>
                    <a:pt x="190" y="100"/>
                    <a:pt x="190" y="100"/>
                    <a:pt x="190" y="100"/>
                  </a:cubicBezTo>
                  <a:lnTo>
                    <a:pt x="190" y="214"/>
                  </a:lnTo>
                  <a:close/>
                  <a:moveTo>
                    <a:pt x="238" y="158"/>
                  </a:moveTo>
                  <a:cubicBezTo>
                    <a:pt x="232" y="163"/>
                    <a:pt x="224" y="167"/>
                    <a:pt x="215" y="167"/>
                  </a:cubicBezTo>
                  <a:cubicBezTo>
                    <a:pt x="201" y="167"/>
                    <a:pt x="201" y="167"/>
                    <a:pt x="201" y="167"/>
                  </a:cubicBezTo>
                  <a:cubicBezTo>
                    <a:pt x="201" y="95"/>
                    <a:pt x="201" y="95"/>
                    <a:pt x="201" y="95"/>
                  </a:cubicBezTo>
                  <a:cubicBezTo>
                    <a:pt x="201" y="92"/>
                    <a:pt x="198" y="90"/>
                    <a:pt x="195" y="90"/>
                  </a:cubicBezTo>
                  <a:cubicBezTo>
                    <a:pt x="120" y="90"/>
                    <a:pt x="120" y="90"/>
                    <a:pt x="120" y="90"/>
                  </a:cubicBezTo>
                  <a:cubicBezTo>
                    <a:pt x="117" y="90"/>
                    <a:pt x="115" y="92"/>
                    <a:pt x="115" y="95"/>
                  </a:cubicBezTo>
                  <a:cubicBezTo>
                    <a:pt x="115" y="141"/>
                    <a:pt x="115" y="141"/>
                    <a:pt x="115" y="141"/>
                  </a:cubicBezTo>
                  <a:cubicBezTo>
                    <a:pt x="73" y="141"/>
                    <a:pt x="73" y="141"/>
                    <a:pt x="73" y="141"/>
                  </a:cubicBezTo>
                  <a:cubicBezTo>
                    <a:pt x="70" y="141"/>
                    <a:pt x="68" y="143"/>
                    <a:pt x="68" y="146"/>
                  </a:cubicBezTo>
                  <a:cubicBezTo>
                    <a:pt x="68" y="167"/>
                    <a:pt x="68" y="167"/>
                    <a:pt x="68" y="167"/>
                  </a:cubicBezTo>
                  <a:cubicBezTo>
                    <a:pt x="55" y="166"/>
                    <a:pt x="44" y="161"/>
                    <a:pt x="35" y="153"/>
                  </a:cubicBezTo>
                  <a:cubicBezTo>
                    <a:pt x="35" y="153"/>
                    <a:pt x="35" y="153"/>
                    <a:pt x="35" y="153"/>
                  </a:cubicBezTo>
                  <a:cubicBezTo>
                    <a:pt x="26" y="144"/>
                    <a:pt x="21" y="132"/>
                    <a:pt x="21" y="118"/>
                  </a:cubicBezTo>
                  <a:cubicBezTo>
                    <a:pt x="21" y="106"/>
                    <a:pt x="26" y="94"/>
                    <a:pt x="34" y="85"/>
                  </a:cubicBezTo>
                  <a:cubicBezTo>
                    <a:pt x="42" y="76"/>
                    <a:pt x="54" y="71"/>
                    <a:pt x="67" y="70"/>
                  </a:cubicBezTo>
                  <a:cubicBezTo>
                    <a:pt x="70" y="70"/>
                    <a:pt x="74" y="67"/>
                    <a:pt x="76" y="64"/>
                  </a:cubicBezTo>
                  <a:cubicBezTo>
                    <a:pt x="81" y="51"/>
                    <a:pt x="90" y="40"/>
                    <a:pt x="102" y="32"/>
                  </a:cubicBezTo>
                  <a:cubicBezTo>
                    <a:pt x="113" y="25"/>
                    <a:pt x="127" y="21"/>
                    <a:pt x="141" y="21"/>
                  </a:cubicBezTo>
                  <a:cubicBezTo>
                    <a:pt x="161" y="21"/>
                    <a:pt x="178" y="29"/>
                    <a:pt x="191" y="41"/>
                  </a:cubicBezTo>
                  <a:cubicBezTo>
                    <a:pt x="204" y="54"/>
                    <a:pt x="212" y="72"/>
                    <a:pt x="212" y="92"/>
                  </a:cubicBezTo>
                  <a:cubicBezTo>
                    <a:pt x="212" y="97"/>
                    <a:pt x="216" y="101"/>
                    <a:pt x="221" y="102"/>
                  </a:cubicBezTo>
                  <a:cubicBezTo>
                    <a:pt x="228" y="103"/>
                    <a:pt x="235" y="107"/>
                    <a:pt x="240" y="113"/>
                  </a:cubicBezTo>
                  <a:cubicBezTo>
                    <a:pt x="245" y="119"/>
                    <a:pt x="248" y="126"/>
                    <a:pt x="248" y="134"/>
                  </a:cubicBezTo>
                  <a:cubicBezTo>
                    <a:pt x="248" y="143"/>
                    <a:pt x="244" y="152"/>
                    <a:pt x="238" y="158"/>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zh-CN" altLang="en-US" sz="1200">
                <a:solidFill>
                  <a:prstClr val="black"/>
                </a:solidFill>
                <a:latin typeface="Arial" panose="020B0604020202020204" pitchFamily="34" charset="0"/>
              </a:endParaRPr>
            </a:p>
          </p:txBody>
        </p:sp>
      </p:grpSp>
      <p:sp>
        <p:nvSpPr>
          <p:cNvPr id="179" name="303810918"/>
          <p:cNvSpPr txBox="1"/>
          <p:nvPr/>
        </p:nvSpPr>
        <p:spPr>
          <a:xfrm>
            <a:off x="156949" y="4915996"/>
            <a:ext cx="756000" cy="369332"/>
          </a:xfrm>
          <a:prstGeom prst="rect">
            <a:avLst/>
          </a:prstGeom>
          <a:noFill/>
        </p:spPr>
        <p:txBody>
          <a:bodyPr wrap="square" lIns="0" rIns="0" rtlCol="0">
            <a:spAutoFit/>
          </a:bodyPr>
          <a:lstStyle/>
          <a:p>
            <a:pPr algn="ctr"/>
            <a:r>
              <a:rPr lang="en-US" altLang="zh-CN" sz="900" b="1" dirty="0" smtClean="0">
                <a:latin typeface="Arial" panose="020B0604020202020204" pitchFamily="34" charset="0"/>
                <a:ea typeface="微软雅黑" pitchFamily="34" charset="-122"/>
              </a:rPr>
              <a:t>Smart applications</a:t>
            </a:r>
            <a:endParaRPr lang="zh-CN" altLang="en-US" sz="900" b="1" dirty="0">
              <a:latin typeface="Arial" panose="020B0604020202020204" pitchFamily="34" charset="0"/>
              <a:ea typeface="微软雅黑" pitchFamily="34" charset="-122"/>
            </a:endParaRPr>
          </a:p>
        </p:txBody>
      </p:sp>
      <p:sp>
        <p:nvSpPr>
          <p:cNvPr id="180" name="113351033"/>
          <p:cNvSpPr txBox="1"/>
          <p:nvPr/>
        </p:nvSpPr>
        <p:spPr>
          <a:xfrm>
            <a:off x="156949" y="5447549"/>
            <a:ext cx="756000" cy="369332"/>
          </a:xfrm>
          <a:prstGeom prst="rect">
            <a:avLst/>
          </a:prstGeom>
          <a:noFill/>
        </p:spPr>
        <p:txBody>
          <a:bodyPr wrap="square" lIns="0" rIns="0" rtlCol="0">
            <a:spAutoFit/>
          </a:bodyPr>
          <a:lstStyle/>
          <a:p>
            <a:pPr algn="ctr"/>
            <a:r>
              <a:rPr lang="en-US" altLang="zh-CN" sz="900" b="1" dirty="0" smtClean="0">
                <a:solidFill>
                  <a:schemeClr val="bg1">
                    <a:lumMod val="65000"/>
                  </a:schemeClr>
                </a:solidFill>
                <a:latin typeface="Arial" panose="020B0604020202020204" pitchFamily="34" charset="0"/>
                <a:ea typeface="微软雅黑" pitchFamily="34" charset="-122"/>
              </a:rPr>
              <a:t>Three</a:t>
            </a:r>
          </a:p>
          <a:p>
            <a:pPr algn="ctr"/>
            <a:r>
              <a:rPr lang="en-US" altLang="zh-CN" sz="900" b="1" smtClean="0">
                <a:solidFill>
                  <a:schemeClr val="bg1"/>
                </a:solidFill>
                <a:latin typeface="Arial" panose="020B0604020202020204" pitchFamily="34" charset="0"/>
                <a:ea typeface="微软雅黑" pitchFamily="34" charset="-122"/>
              </a:rPr>
              <a:t>platforms</a:t>
            </a:r>
            <a:endParaRPr lang="zh-CN" altLang="en-US" sz="900" b="1" dirty="0">
              <a:solidFill>
                <a:schemeClr val="bg1"/>
              </a:solidFill>
              <a:latin typeface="Arial"/>
              <a:ea typeface="微软雅黑" pitchFamily="34" charset="-122"/>
            </a:endParaRPr>
          </a:p>
        </p:txBody>
      </p:sp>
      <p:sp>
        <p:nvSpPr>
          <p:cNvPr id="181" name="2094499998"/>
          <p:cNvSpPr txBox="1"/>
          <p:nvPr/>
        </p:nvSpPr>
        <p:spPr>
          <a:xfrm>
            <a:off x="156949" y="6037560"/>
            <a:ext cx="756000" cy="369332"/>
          </a:xfrm>
          <a:prstGeom prst="rect">
            <a:avLst/>
          </a:prstGeom>
          <a:noFill/>
        </p:spPr>
        <p:txBody>
          <a:bodyPr wrap="square" lIns="0" rIns="0" rtlCol="0">
            <a:spAutoFit/>
          </a:bodyPr>
          <a:lstStyle/>
          <a:p>
            <a:pPr algn="ctr"/>
            <a:r>
              <a:rPr lang="en-US" altLang="zh-CN" sz="900" b="1" dirty="0" smtClean="0">
                <a:solidFill>
                  <a:schemeClr val="bg1">
                    <a:lumMod val="65000"/>
                  </a:schemeClr>
                </a:solidFill>
                <a:latin typeface="Arial" panose="020B0604020202020204" pitchFamily="34" charset="0"/>
                <a:ea typeface="微软雅黑" pitchFamily="34" charset="-122"/>
              </a:rPr>
              <a:t>One</a:t>
            </a:r>
          </a:p>
          <a:p>
            <a:pPr algn="ctr"/>
            <a:r>
              <a:rPr lang="en-US" altLang="zh-CN" sz="900" b="1" dirty="0" smtClean="0">
                <a:solidFill>
                  <a:schemeClr val="bg1">
                    <a:lumMod val="65000"/>
                  </a:schemeClr>
                </a:solidFill>
                <a:latin typeface="Arial" panose="020B0604020202020204" pitchFamily="34" charset="0"/>
                <a:ea typeface="微软雅黑" pitchFamily="34" charset="-122"/>
              </a:rPr>
              <a:t>Cloud</a:t>
            </a:r>
            <a:endParaRPr lang="zh-CN" altLang="en-US" sz="900" b="1" dirty="0">
              <a:solidFill>
                <a:schemeClr val="bg1">
                  <a:lumMod val="65000"/>
                </a:schemeClr>
              </a:solidFill>
              <a:latin typeface="Arial" panose="020B0604020202020204" pitchFamily="34" charset="0"/>
              <a:ea typeface="微软雅黑" pitchFamily="34" charset="-122"/>
            </a:endParaRPr>
          </a:p>
        </p:txBody>
      </p:sp>
      <p:sp>
        <p:nvSpPr>
          <p:cNvPr id="182" name="992614945"/>
          <p:cNvSpPr txBox="1"/>
          <p:nvPr/>
        </p:nvSpPr>
        <p:spPr>
          <a:xfrm>
            <a:off x="156949" y="6464767"/>
            <a:ext cx="756000" cy="369332"/>
          </a:xfrm>
          <a:prstGeom prst="rect">
            <a:avLst/>
          </a:prstGeom>
          <a:noFill/>
        </p:spPr>
        <p:txBody>
          <a:bodyPr wrap="square" lIns="0" rIns="0" rtlCol="0">
            <a:spAutoFit/>
          </a:bodyPr>
          <a:lstStyle/>
          <a:p>
            <a:pPr algn="ctr"/>
            <a:r>
              <a:rPr lang="en-US" altLang="zh-CN" sz="900" b="1" dirty="0" smtClean="0">
                <a:latin typeface="Arial" panose="020B0604020202020204" pitchFamily="34" charset="0"/>
                <a:ea typeface="微软雅黑" pitchFamily="34" charset="-122"/>
              </a:rPr>
              <a:t>Two</a:t>
            </a:r>
          </a:p>
          <a:p>
            <a:pPr algn="ctr"/>
            <a:r>
              <a:rPr lang="en-US" altLang="zh-CN" sz="900" b="1" smtClean="0">
                <a:latin typeface="Arial" panose="020B0604020202020204" pitchFamily="34" charset="0"/>
                <a:ea typeface="微软雅黑" pitchFamily="34" charset="-122"/>
              </a:rPr>
              <a:t>networks</a:t>
            </a:r>
            <a:endParaRPr lang="zh-CN" altLang="en-US" sz="900" b="1" dirty="0">
              <a:latin typeface="Arial"/>
              <a:ea typeface="微软雅黑" pitchFamily="34" charset="-122"/>
            </a:endParaRPr>
          </a:p>
        </p:txBody>
      </p:sp>
      <p:sp>
        <p:nvSpPr>
          <p:cNvPr id="183" name="1167229051"/>
          <p:cNvSpPr>
            <a:spLocks noChangeArrowheads="1"/>
          </p:cNvSpPr>
          <p:nvPr/>
        </p:nvSpPr>
        <p:spPr bwMode="auto">
          <a:xfrm>
            <a:off x="1736472" y="4918164"/>
            <a:ext cx="617397" cy="411416"/>
          </a:xfrm>
          <a:prstGeom prst="round2SameRect">
            <a:avLst>
              <a:gd name="adj1" fmla="val 0"/>
              <a:gd name="adj2" fmla="val 0"/>
            </a:avLst>
          </a:prstGeom>
          <a:solidFill>
            <a:schemeClr val="accent3">
              <a:lumMod val="7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0" tIns="8423" rIns="0" bIns="8423" anchor="ctr" anchorCtr="1"/>
          <a:lstStyle/>
          <a:p>
            <a:pPr algn="ctr" defTabSz="588012" eaLnBrk="0" hangingPunct="0">
              <a:buSzPct val="60000"/>
            </a:pPr>
            <a:r>
              <a:rPr lang="en-US" altLang="zh-CN" sz="800" b="1" kern="0" dirty="0" smtClean="0">
                <a:solidFill>
                  <a:srgbClr val="FFFFFF"/>
                </a:solidFill>
                <a:latin typeface="Arial" panose="020B0604020202020204" pitchFamily="34" charset="0"/>
                <a:ea typeface="微软雅黑" pitchFamily="34" charset="-122"/>
                <a:cs typeface="Arial" pitchFamily="34" charset="0"/>
              </a:rPr>
              <a:t>City</a:t>
            </a:r>
            <a:r>
              <a:rPr lang="en-US" altLang="zh-CN" sz="800" b="1" kern="0" spc="300" dirty="0" smtClean="0">
                <a:solidFill>
                  <a:srgbClr val="FFFFFF"/>
                </a:solidFill>
                <a:latin typeface="Arial" panose="020B0604020202020204" pitchFamily="34" charset="0"/>
                <a:ea typeface="微软雅黑" pitchFamily="34" charset="-122"/>
                <a:cs typeface="Arial" pitchFamily="34" charset="0"/>
              </a:rPr>
              <a:t> </a:t>
            </a:r>
            <a:r>
              <a:rPr lang="en-US" altLang="zh-CN" sz="800" b="1" kern="0" dirty="0" smtClean="0">
                <a:solidFill>
                  <a:srgbClr val="FFFFFF"/>
                </a:solidFill>
                <a:latin typeface="Arial" panose="020B0604020202020204" pitchFamily="34" charset="0"/>
                <a:ea typeface="微软雅黑" pitchFamily="34" charset="-122"/>
                <a:cs typeface="Arial" pitchFamily="34" charset="0"/>
              </a:rPr>
              <a:t>surveillance</a:t>
            </a:r>
            <a:endParaRPr lang="zh-CN" altLang="en-US" sz="800" b="1" kern="0" dirty="0">
              <a:solidFill>
                <a:srgbClr val="FFFFFF"/>
              </a:solidFill>
              <a:latin typeface="Arial" panose="020B0604020202020204" pitchFamily="34" charset="0"/>
              <a:ea typeface="微软雅黑" pitchFamily="34" charset="-122"/>
              <a:cs typeface="Arial" pitchFamily="34" charset="0"/>
            </a:endParaRPr>
          </a:p>
        </p:txBody>
      </p:sp>
      <p:sp>
        <p:nvSpPr>
          <p:cNvPr id="190" name="1439143719"/>
          <p:cNvSpPr txBox="1"/>
          <p:nvPr/>
        </p:nvSpPr>
        <p:spPr>
          <a:xfrm>
            <a:off x="5852957" y="5015292"/>
            <a:ext cx="641309" cy="184666"/>
          </a:xfrm>
          <a:prstGeom prst="rect">
            <a:avLst/>
          </a:prstGeom>
          <a:noFill/>
        </p:spPr>
        <p:txBody>
          <a:bodyPr wrap="square" rtlCol="0" anchor="ctr">
            <a:spAutoFit/>
          </a:bodyPr>
          <a:lstStyle/>
          <a:p>
            <a:r>
              <a:rPr lang="en-US" altLang="zh-CN" sz="600" smtClean="0">
                <a:solidFill>
                  <a:schemeClr val="bg1"/>
                </a:solidFill>
                <a:latin typeface="Arial" panose="020B0604020202020204" pitchFamily="34" charset="0"/>
              </a:rPr>
              <a:t>…</a:t>
            </a:r>
            <a:endParaRPr lang="zh-CN" altLang="en-US" sz="600" dirty="0">
              <a:solidFill>
                <a:schemeClr val="bg1"/>
              </a:solidFill>
              <a:latin typeface="Arial"/>
            </a:endParaRPr>
          </a:p>
        </p:txBody>
      </p:sp>
      <p:sp>
        <p:nvSpPr>
          <p:cNvPr id="191" name="矩形 190"/>
          <p:cNvSpPr/>
          <p:nvPr/>
        </p:nvSpPr>
        <p:spPr>
          <a:xfrm>
            <a:off x="893030" y="4882756"/>
            <a:ext cx="1595577" cy="456063"/>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endParaRPr>
          </a:p>
        </p:txBody>
      </p:sp>
      <p:sp>
        <p:nvSpPr>
          <p:cNvPr id="192" name="矩形 191"/>
          <p:cNvSpPr/>
          <p:nvPr/>
        </p:nvSpPr>
        <p:spPr>
          <a:xfrm>
            <a:off x="2754408" y="4882756"/>
            <a:ext cx="1595577" cy="456063"/>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endParaRPr>
          </a:p>
        </p:txBody>
      </p:sp>
      <p:sp>
        <p:nvSpPr>
          <p:cNvPr id="193" name="矩形 192"/>
          <p:cNvSpPr/>
          <p:nvPr/>
        </p:nvSpPr>
        <p:spPr>
          <a:xfrm>
            <a:off x="4618011" y="4882756"/>
            <a:ext cx="1595577" cy="456063"/>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endParaRPr>
          </a:p>
        </p:txBody>
      </p:sp>
      <p:sp>
        <p:nvSpPr>
          <p:cNvPr id="194" name="2067631641"/>
          <p:cNvSpPr txBox="1"/>
          <p:nvPr/>
        </p:nvSpPr>
        <p:spPr>
          <a:xfrm>
            <a:off x="946006" y="4677916"/>
            <a:ext cx="1426125" cy="253916"/>
          </a:xfrm>
          <a:prstGeom prst="rect">
            <a:avLst/>
          </a:prstGeom>
          <a:noFill/>
        </p:spPr>
        <p:txBody>
          <a:bodyPr wrap="square" lIns="0" rIns="0" rtlCol="0">
            <a:spAutoFit/>
          </a:bodyPr>
          <a:lstStyle/>
          <a:p>
            <a:pPr algn="ctr"/>
            <a:r>
              <a:rPr lang="en-US" altLang="zh-CN" sz="1050" b="1" dirty="0" smtClean="0">
                <a:latin typeface="Arial" panose="020B0604020202020204" pitchFamily="34" charset="0"/>
                <a:ea typeface="微软雅黑" pitchFamily="34" charset="-122"/>
              </a:rPr>
              <a:t>Governance</a:t>
            </a:r>
            <a:endParaRPr lang="zh-CN" altLang="en-US" sz="1050" b="1" dirty="0">
              <a:latin typeface="Arial" panose="020B0604020202020204" pitchFamily="34" charset="0"/>
              <a:ea typeface="微软雅黑" pitchFamily="34" charset="-122"/>
            </a:endParaRPr>
          </a:p>
        </p:txBody>
      </p:sp>
      <p:sp>
        <p:nvSpPr>
          <p:cNvPr id="195" name="1917804850"/>
          <p:cNvSpPr txBox="1"/>
          <p:nvPr/>
        </p:nvSpPr>
        <p:spPr>
          <a:xfrm>
            <a:off x="2839134" y="4677916"/>
            <a:ext cx="1426125" cy="253916"/>
          </a:xfrm>
          <a:prstGeom prst="rect">
            <a:avLst/>
          </a:prstGeom>
          <a:noFill/>
        </p:spPr>
        <p:txBody>
          <a:bodyPr wrap="square" lIns="0" rIns="0" rtlCol="0">
            <a:spAutoFit/>
          </a:bodyPr>
          <a:lstStyle/>
          <a:p>
            <a:pPr algn="ctr"/>
            <a:r>
              <a:rPr lang="en-US" altLang="zh-CN" sz="1050" b="1" dirty="0" smtClean="0">
                <a:latin typeface="Arial" panose="020B0604020202020204" pitchFamily="34" charset="0"/>
                <a:ea typeface="微软雅黑" pitchFamily="34" charset="-122"/>
              </a:rPr>
              <a:t>Public utilities</a:t>
            </a:r>
            <a:endParaRPr lang="zh-CN" altLang="en-US" sz="1050" b="1" dirty="0">
              <a:latin typeface="Arial" panose="020B0604020202020204" pitchFamily="34" charset="0"/>
              <a:ea typeface="微软雅黑" pitchFamily="34" charset="-122"/>
            </a:endParaRPr>
          </a:p>
        </p:txBody>
      </p:sp>
      <p:sp>
        <p:nvSpPr>
          <p:cNvPr id="196" name="351447937"/>
          <p:cNvSpPr txBox="1"/>
          <p:nvPr/>
        </p:nvSpPr>
        <p:spPr>
          <a:xfrm>
            <a:off x="4702737" y="4677916"/>
            <a:ext cx="1426125" cy="253916"/>
          </a:xfrm>
          <a:prstGeom prst="rect">
            <a:avLst/>
          </a:prstGeom>
          <a:noFill/>
        </p:spPr>
        <p:txBody>
          <a:bodyPr wrap="square" lIns="0" rIns="0" rtlCol="0">
            <a:spAutoFit/>
          </a:bodyPr>
          <a:lstStyle/>
          <a:p>
            <a:pPr algn="ctr"/>
            <a:r>
              <a:rPr lang="en-US" altLang="zh-CN" sz="1050" b="1" dirty="0" smtClean="0">
                <a:latin typeface="Arial" panose="020B0604020202020204" pitchFamily="34" charset="0"/>
                <a:ea typeface="微软雅黑" pitchFamily="34" charset="-122"/>
              </a:rPr>
              <a:t>Industrial economies</a:t>
            </a:r>
            <a:endParaRPr lang="zh-CN" altLang="en-US" sz="1050" b="1" dirty="0">
              <a:latin typeface="Arial" panose="020B0604020202020204" pitchFamily="34" charset="0"/>
              <a:ea typeface="微软雅黑" pitchFamily="34" charset="-122"/>
            </a:endParaRPr>
          </a:p>
        </p:txBody>
      </p:sp>
      <p:sp>
        <p:nvSpPr>
          <p:cNvPr id="198" name="1164167366"/>
          <p:cNvSpPr>
            <a:spLocks noChangeArrowheads="1"/>
          </p:cNvSpPr>
          <p:nvPr/>
        </p:nvSpPr>
        <p:spPr bwMode="auto">
          <a:xfrm>
            <a:off x="2867450" y="4921695"/>
            <a:ext cx="605811" cy="411416"/>
          </a:xfrm>
          <a:prstGeom prst="round2SameRect">
            <a:avLst>
              <a:gd name="adj1" fmla="val 0"/>
              <a:gd name="adj2" fmla="val 0"/>
            </a:avLst>
          </a:prstGeom>
          <a:solidFill>
            <a:schemeClr val="accent3">
              <a:lumMod val="7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0" tIns="8423" rIns="0" bIns="8423" anchor="ctr" anchorCtr="1"/>
          <a:lstStyle/>
          <a:p>
            <a:pPr algn="ctr" defTabSz="588012" eaLnBrk="0" hangingPunct="0">
              <a:buSzPct val="60000"/>
            </a:pPr>
            <a:r>
              <a:rPr lang="en-US" altLang="zh-CN" sz="800" b="1" kern="0" dirty="0" smtClean="0">
                <a:solidFill>
                  <a:srgbClr val="FFFFFF"/>
                </a:solidFill>
                <a:latin typeface="Arial" panose="020B0604020202020204" pitchFamily="34" charset="0"/>
                <a:ea typeface="微软雅黑" pitchFamily="34" charset="-122"/>
                <a:cs typeface="Arial" pitchFamily="34" charset="0"/>
              </a:rPr>
              <a:t>Remote</a:t>
            </a:r>
            <a:r>
              <a:rPr lang="en-US" altLang="zh-CN" sz="800" b="1" kern="0" spc="300" dirty="0" smtClean="0">
                <a:solidFill>
                  <a:srgbClr val="FFFFFF"/>
                </a:solidFill>
                <a:latin typeface="Arial" panose="020B0604020202020204" pitchFamily="34" charset="0"/>
                <a:ea typeface="微软雅黑" pitchFamily="34" charset="-122"/>
                <a:cs typeface="Arial" pitchFamily="34" charset="0"/>
              </a:rPr>
              <a:t> </a:t>
            </a:r>
            <a:r>
              <a:rPr lang="en-US" altLang="zh-CN" sz="800" b="1" kern="0" dirty="0" smtClean="0">
                <a:solidFill>
                  <a:srgbClr val="FFFFFF"/>
                </a:solidFill>
                <a:latin typeface="Arial" panose="020B0604020202020204" pitchFamily="34" charset="0"/>
                <a:ea typeface="微软雅黑" pitchFamily="34" charset="-122"/>
                <a:cs typeface="Arial" pitchFamily="34" charset="0"/>
              </a:rPr>
              <a:t>metering</a:t>
            </a:r>
            <a:endParaRPr lang="zh-CN" altLang="en-US" sz="800" b="1" kern="0" dirty="0">
              <a:solidFill>
                <a:srgbClr val="FFFFFF"/>
              </a:solidFill>
              <a:latin typeface="Arial" panose="020B0604020202020204" pitchFamily="34" charset="0"/>
              <a:ea typeface="微软雅黑" pitchFamily="34" charset="-122"/>
              <a:cs typeface="Arial" pitchFamily="34" charset="0"/>
            </a:endParaRPr>
          </a:p>
        </p:txBody>
      </p:sp>
      <p:sp>
        <p:nvSpPr>
          <p:cNvPr id="199" name="383522210"/>
          <p:cNvSpPr>
            <a:spLocks noChangeArrowheads="1"/>
          </p:cNvSpPr>
          <p:nvPr/>
        </p:nvSpPr>
        <p:spPr bwMode="auto">
          <a:xfrm>
            <a:off x="3624208" y="4921695"/>
            <a:ext cx="617397" cy="411416"/>
          </a:xfrm>
          <a:prstGeom prst="round2SameRect">
            <a:avLst>
              <a:gd name="adj1" fmla="val 0"/>
              <a:gd name="adj2" fmla="val 0"/>
            </a:avLst>
          </a:prstGeom>
          <a:solidFill>
            <a:schemeClr val="accent3">
              <a:lumMod val="7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0" tIns="8423" rIns="0" bIns="8423" anchor="ctr" anchorCtr="1"/>
          <a:lstStyle/>
          <a:p>
            <a:pPr algn="ctr" defTabSz="588012" eaLnBrk="0" hangingPunct="0">
              <a:buSzPct val="60000"/>
            </a:pPr>
            <a:r>
              <a:rPr lang="en-US" altLang="zh-CN" sz="800" b="1" kern="0" dirty="0" smtClean="0">
                <a:solidFill>
                  <a:srgbClr val="FFFFFF"/>
                </a:solidFill>
                <a:latin typeface="Arial" panose="020B0604020202020204" pitchFamily="34" charset="0"/>
                <a:ea typeface="微软雅黑" pitchFamily="34" charset="-122"/>
                <a:cs typeface="Arial" pitchFamily="34" charset="0"/>
              </a:rPr>
              <a:t>Public</a:t>
            </a:r>
            <a:r>
              <a:rPr lang="en-US" altLang="zh-CN" sz="800" b="1" kern="0" spc="300" dirty="0" smtClean="0">
                <a:solidFill>
                  <a:srgbClr val="FFFFFF"/>
                </a:solidFill>
                <a:latin typeface="Arial" panose="020B0604020202020204" pitchFamily="34" charset="0"/>
                <a:ea typeface="微软雅黑" pitchFamily="34" charset="-122"/>
                <a:cs typeface="Arial" pitchFamily="34" charset="0"/>
              </a:rPr>
              <a:t> </a:t>
            </a:r>
            <a:r>
              <a:rPr lang="en-US" altLang="zh-CN" sz="800" b="1" kern="0" dirty="0" smtClean="0">
                <a:solidFill>
                  <a:srgbClr val="FFFFFF"/>
                </a:solidFill>
                <a:latin typeface="Arial" panose="020B0604020202020204" pitchFamily="34" charset="0"/>
                <a:ea typeface="微软雅黑" pitchFamily="34" charset="-122"/>
                <a:cs typeface="Arial" pitchFamily="34" charset="0"/>
              </a:rPr>
              <a:t>services</a:t>
            </a:r>
            <a:endParaRPr lang="zh-CN" altLang="en-US" sz="800" b="1" kern="0" dirty="0">
              <a:solidFill>
                <a:srgbClr val="FFFFFF"/>
              </a:solidFill>
              <a:latin typeface="Arial" panose="020B0604020202020204" pitchFamily="34" charset="0"/>
              <a:ea typeface="微软雅黑" pitchFamily="34" charset="-122"/>
              <a:cs typeface="Arial" pitchFamily="34" charset="0"/>
            </a:endParaRPr>
          </a:p>
        </p:txBody>
      </p:sp>
      <p:sp>
        <p:nvSpPr>
          <p:cNvPr id="200" name="1862303421"/>
          <p:cNvSpPr>
            <a:spLocks noChangeArrowheads="1"/>
          </p:cNvSpPr>
          <p:nvPr/>
        </p:nvSpPr>
        <p:spPr bwMode="auto">
          <a:xfrm>
            <a:off x="4732038" y="4921695"/>
            <a:ext cx="605811" cy="411416"/>
          </a:xfrm>
          <a:prstGeom prst="round2SameRect">
            <a:avLst>
              <a:gd name="adj1" fmla="val 0"/>
              <a:gd name="adj2" fmla="val 0"/>
            </a:avLst>
          </a:prstGeom>
          <a:solidFill>
            <a:schemeClr val="accent3">
              <a:lumMod val="7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0" tIns="8423" rIns="0" bIns="8423" anchor="ctr" anchorCtr="1"/>
          <a:lstStyle/>
          <a:p>
            <a:pPr algn="ctr" defTabSz="588012" eaLnBrk="0" hangingPunct="0">
              <a:buSzPct val="60000"/>
            </a:pPr>
            <a:r>
              <a:rPr lang="en-US" altLang="zh-CN" sz="800" b="1" kern="0" dirty="0" smtClean="0">
                <a:solidFill>
                  <a:srgbClr val="FFFFFF"/>
                </a:solidFill>
                <a:latin typeface="Arial" panose="020B0604020202020204" pitchFamily="34" charset="0"/>
                <a:ea typeface="微软雅黑" pitchFamily="34" charset="-122"/>
                <a:cs typeface="Arial" pitchFamily="34" charset="0"/>
              </a:rPr>
              <a:t>Smart</a:t>
            </a:r>
            <a:r>
              <a:rPr lang="en-US" altLang="zh-CN" sz="800" b="1" kern="0" spc="300" dirty="0" smtClean="0">
                <a:solidFill>
                  <a:srgbClr val="FFFFFF"/>
                </a:solidFill>
                <a:latin typeface="Arial" panose="020B0604020202020204" pitchFamily="34" charset="0"/>
                <a:ea typeface="微软雅黑" pitchFamily="34" charset="-122"/>
                <a:cs typeface="Arial" pitchFamily="34" charset="0"/>
              </a:rPr>
              <a:t> </a:t>
            </a:r>
            <a:r>
              <a:rPr lang="en-US" altLang="zh-CN" sz="800" b="1" kern="0" dirty="0" smtClean="0">
                <a:solidFill>
                  <a:srgbClr val="FFFFFF"/>
                </a:solidFill>
                <a:latin typeface="Arial" panose="020B0604020202020204" pitchFamily="34" charset="0"/>
                <a:ea typeface="微软雅黑" pitchFamily="34" charset="-122"/>
                <a:cs typeface="Arial" pitchFamily="34" charset="0"/>
              </a:rPr>
              <a:t>campus</a:t>
            </a:r>
            <a:endParaRPr lang="zh-CN" altLang="en-US" sz="800" b="1" kern="0" dirty="0">
              <a:solidFill>
                <a:srgbClr val="FFFFFF"/>
              </a:solidFill>
              <a:latin typeface="Arial" panose="020B0604020202020204" pitchFamily="34" charset="0"/>
              <a:ea typeface="微软雅黑" pitchFamily="34" charset="-122"/>
              <a:cs typeface="Arial" pitchFamily="34" charset="0"/>
            </a:endParaRPr>
          </a:p>
        </p:txBody>
      </p:sp>
      <p:sp>
        <p:nvSpPr>
          <p:cNvPr id="201" name="1409288535"/>
          <p:cNvSpPr>
            <a:spLocks noChangeArrowheads="1"/>
          </p:cNvSpPr>
          <p:nvPr/>
        </p:nvSpPr>
        <p:spPr bwMode="auto">
          <a:xfrm>
            <a:off x="5488796" y="4921695"/>
            <a:ext cx="617397" cy="411416"/>
          </a:xfrm>
          <a:prstGeom prst="round2SameRect">
            <a:avLst>
              <a:gd name="adj1" fmla="val 0"/>
              <a:gd name="adj2" fmla="val 0"/>
            </a:avLst>
          </a:prstGeom>
          <a:solidFill>
            <a:schemeClr val="accent3">
              <a:lumMod val="7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extLst/>
        </p:spPr>
        <p:txBody>
          <a:bodyPr lIns="0" tIns="8423" rIns="0" bIns="8423" anchor="ctr" anchorCtr="1"/>
          <a:lstStyle/>
          <a:p>
            <a:pPr algn="ctr" defTabSz="588012" eaLnBrk="0" hangingPunct="0">
              <a:buSzPct val="60000"/>
            </a:pPr>
            <a:r>
              <a:rPr lang="en-US" altLang="zh-CN" sz="800" b="1" kern="0" dirty="0" smtClean="0">
                <a:solidFill>
                  <a:srgbClr val="FFFFFF"/>
                </a:solidFill>
                <a:latin typeface="Arial" panose="020B0604020202020204" pitchFamily="34" charset="0"/>
                <a:ea typeface="微软雅黑" pitchFamily="34" charset="-122"/>
                <a:cs typeface="Arial" pitchFamily="34" charset="0"/>
              </a:rPr>
              <a:t>Smart</a:t>
            </a:r>
            <a:r>
              <a:rPr lang="en-US" altLang="zh-CN" sz="800" b="1" kern="0" spc="300" dirty="0" smtClean="0">
                <a:solidFill>
                  <a:srgbClr val="FFFFFF"/>
                </a:solidFill>
                <a:latin typeface="Arial" panose="020B0604020202020204" pitchFamily="34" charset="0"/>
                <a:ea typeface="微软雅黑" pitchFamily="34" charset="-122"/>
                <a:cs typeface="Arial" pitchFamily="34" charset="0"/>
              </a:rPr>
              <a:t> </a:t>
            </a:r>
            <a:r>
              <a:rPr lang="en-US" altLang="zh-CN" sz="800" b="1" kern="0" dirty="0" smtClean="0">
                <a:solidFill>
                  <a:srgbClr val="FFFFFF"/>
                </a:solidFill>
                <a:latin typeface="Arial" panose="020B0604020202020204" pitchFamily="34" charset="0"/>
                <a:ea typeface="微软雅黑" pitchFamily="34" charset="-122"/>
                <a:cs typeface="Arial" pitchFamily="34" charset="0"/>
              </a:rPr>
              <a:t>agriculture</a:t>
            </a:r>
            <a:endParaRPr lang="zh-CN" altLang="en-US" sz="800" b="1" kern="0" dirty="0">
              <a:solidFill>
                <a:srgbClr val="FFFFFF"/>
              </a:solidFill>
              <a:latin typeface="Arial" panose="020B0604020202020204" pitchFamily="34" charset="0"/>
              <a:ea typeface="微软雅黑" pitchFamily="34" charset="-122"/>
              <a:cs typeface="Arial" pitchFamily="34" charset="0"/>
            </a:endParaRPr>
          </a:p>
        </p:txBody>
      </p:sp>
      <p:pic>
        <p:nvPicPr>
          <p:cNvPr id="202" name="Picture 14" descr="상승_4"/>
          <p:cNvPicPr>
            <a:picLocks noChangeAspect="1" noChangeArrowheads="1"/>
          </p:cNvPicPr>
          <p:nvPr>
            <p:custDataLst>
              <p:tags r:id="rId1"/>
            </p:custDataLst>
          </p:nvPr>
        </p:nvPicPr>
        <p:blipFill>
          <a:blip r:embed="rId4" cstate="screen">
            <a:duotone>
              <a:schemeClr val="bg2">
                <a:shade val="45000"/>
                <a:satMod val="135000"/>
              </a:schemeClr>
              <a:prstClr val="white"/>
            </a:duotone>
            <a:extLst>
              <a:ext uri="{BEBA8EAE-BF5A-486C-A8C5-ECC9F3942E4B}">
                <a14:imgProps xmlns:a14="http://schemas.microsoft.com/office/drawing/2010/main" xmlns="">
                  <a14:imgLayer r:embed="rId5">
                    <a14:imgEffect>
                      <a14:colorTemperature colorTemp="4700"/>
                    </a14:imgEffect>
                    <a14:imgEffect>
                      <a14:saturation sat="0"/>
                    </a14:imgEffect>
                  </a14:imgLayer>
                </a14:imgProps>
              </a:ext>
            </a:extLst>
          </a:blip>
          <a:srcRect/>
          <a:stretch>
            <a:fillRect/>
          </a:stretch>
        </p:blipFill>
        <p:spPr bwMode="auto">
          <a:xfrm flipV="1">
            <a:off x="0" y="6921976"/>
            <a:ext cx="6857999" cy="1584176"/>
          </a:xfrm>
          <a:prstGeom prst="rect">
            <a:avLst/>
          </a:prstGeom>
          <a:noFill/>
          <a:ln>
            <a:noFill/>
          </a:ln>
        </p:spPr>
      </p:pic>
      <p:sp>
        <p:nvSpPr>
          <p:cNvPr id="203" name="矩形 202"/>
          <p:cNvSpPr/>
          <p:nvPr/>
        </p:nvSpPr>
        <p:spPr>
          <a:xfrm>
            <a:off x="2830538" y="6801708"/>
            <a:ext cx="1191244" cy="400110"/>
          </a:xfrm>
          <a:prstGeom prst="rect">
            <a:avLst/>
          </a:prstGeom>
        </p:spPr>
        <p:txBody>
          <a:bodyPr lIns="0" rIns="0">
            <a:spAutoFit/>
          </a:bodyPr>
          <a:lstStyle/>
          <a:p>
            <a:pPr algn="ctr">
              <a:defRPr/>
            </a:pPr>
            <a:r>
              <a:rPr kumimoji="1" lang="en-US" altLang="zh-CN" b="1" dirty="0" smtClean="0">
                <a:solidFill>
                  <a:srgbClr val="0099FF"/>
                </a:solidFill>
                <a:effectLst>
                  <a:outerShdw blurRad="50800" dist="38100" dir="2700000" algn="tl" rotWithShape="0">
                    <a:prstClr val="black">
                      <a:alpha val="40000"/>
                    </a:prstClr>
                  </a:outerShdw>
                </a:effectLst>
                <a:latin typeface="Arial" panose="020B0604020202020204" pitchFamily="34" charset="0"/>
                <a:ea typeface="微软雅黑" pitchFamily="34" charset="-122"/>
                <a:cs typeface="Arial" pitchFamily="34" charset="0"/>
                <a:sym typeface="Arial"/>
              </a:rPr>
              <a:t>eLTE</a:t>
            </a:r>
            <a:endParaRPr kumimoji="1" lang="en-US" altLang="zh-CN" b="1" dirty="0">
              <a:solidFill>
                <a:srgbClr val="0099FF"/>
              </a:solidFill>
              <a:effectLst>
                <a:outerShdw blurRad="50800" dist="38100" dir="2700000" algn="tl" rotWithShape="0">
                  <a:prstClr val="black">
                    <a:alpha val="40000"/>
                  </a:prstClr>
                </a:outerShdw>
              </a:effectLst>
              <a:latin typeface="Arial" panose="020B0604020202020204" pitchFamily="34" charset="0"/>
              <a:ea typeface="微软雅黑" pitchFamily="34" charset="-122"/>
              <a:cs typeface="Arial" pitchFamily="34" charset="0"/>
              <a:sym typeface="Arial"/>
            </a:endParaRPr>
          </a:p>
        </p:txBody>
      </p:sp>
      <p:sp>
        <p:nvSpPr>
          <p:cNvPr id="204" name="圆角矩形 26"/>
          <p:cNvSpPr>
            <a:spLocks noChangeArrowheads="1"/>
          </p:cNvSpPr>
          <p:nvPr/>
        </p:nvSpPr>
        <p:spPr bwMode="auto">
          <a:xfrm>
            <a:off x="631736" y="7362522"/>
            <a:ext cx="1422327" cy="485586"/>
          </a:xfrm>
          <a:prstGeom prst="roundRect">
            <a:avLst>
              <a:gd name="adj" fmla="val 16667"/>
            </a:avLst>
          </a:prstGeom>
          <a:solidFill>
            <a:schemeClr val="accent1">
              <a:lumMod val="60000"/>
              <a:lumOff val="40000"/>
            </a:schemeClr>
          </a:solidFill>
          <a:ln>
            <a:solidFill>
              <a:schemeClr val="bg1"/>
            </a:solid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p:spPr>
        <p:txBody>
          <a:bodyPr lIns="16846" tIns="8423" rIns="16846" bIns="8423" anchor="ctr" anchorCtr="1"/>
          <a:lstStyle/>
          <a:p>
            <a:pPr algn="ctr" defTabSz="588012" eaLnBrk="0" hangingPunct="0">
              <a:buSzPct val="60000"/>
              <a:defRPr/>
            </a:pPr>
            <a:endParaRPr lang="zh-CN" altLang="en-US" sz="1000" b="1" kern="0">
              <a:solidFill>
                <a:srgbClr val="FFFFFF"/>
              </a:solidFill>
              <a:latin typeface="Arial" panose="020B0604020202020204" pitchFamily="34" charset="0"/>
              <a:ea typeface="微软雅黑" pitchFamily="34" charset="-122"/>
              <a:cs typeface="Arial" pitchFamily="34" charset="0"/>
            </a:endParaRPr>
          </a:p>
        </p:txBody>
      </p:sp>
      <p:sp>
        <p:nvSpPr>
          <p:cNvPr id="205" name="TextBox 29"/>
          <p:cNvSpPr txBox="1"/>
          <p:nvPr/>
        </p:nvSpPr>
        <p:spPr>
          <a:xfrm>
            <a:off x="1036715" y="7429109"/>
            <a:ext cx="626083" cy="352411"/>
          </a:xfrm>
          <a:prstGeom prst="rect">
            <a:avLst/>
          </a:prstGeom>
          <a:noFill/>
          <a:ln w="9525" cap="flat" cmpd="sng" algn="ctr">
            <a:noFill/>
            <a:prstDash val="solid"/>
          </a:ln>
          <a:effectLst>
            <a:outerShdw blurRad="40000" dist="20000" dir="5400000" rotWithShape="0">
              <a:srgbClr val="000000">
                <a:alpha val="38000"/>
              </a:srgbClr>
            </a:outerShdw>
          </a:effectLst>
        </p:spPr>
        <p:txBody>
          <a:bodyPr lIns="78144" tIns="39073" rIns="78144" bIns="39073" anchor="ctr"/>
          <a:lstStyle/>
          <a:p>
            <a:pPr marL="0" marR="0" lvl="0" indent="0" algn="ctr" defTabSz="794356" eaLnBrk="1" fontAlgn="auto" latinLnBrk="0" hangingPunct="1">
              <a:lnSpc>
                <a:spcPct val="100000"/>
              </a:lnSpc>
              <a:spcBef>
                <a:spcPts val="0"/>
              </a:spcBef>
              <a:spcAft>
                <a:spcPts val="0"/>
              </a:spcAft>
              <a:buClrTx/>
              <a:buSzTx/>
              <a:buFontTx/>
              <a:buNone/>
              <a:tabLst/>
              <a:defRPr/>
            </a:pPr>
            <a:r>
              <a:rPr kumimoji="0" lang="en-US" altLang="zh-CN" sz="1050" b="0" i="0" u="none" strike="noStrike" kern="0" cap="none" spc="0" normalizeH="0" baseline="0" noProof="0" dirty="0" smtClean="0">
                <a:ln>
                  <a:noFill/>
                </a:ln>
                <a:solidFill>
                  <a:schemeClr val="bg1"/>
                </a:solidFill>
                <a:effectLst/>
                <a:uLnTx/>
                <a:uFillTx/>
                <a:latin typeface="Arial" panose="020B0604020202020204" pitchFamily="34" charset="0"/>
                <a:ea typeface="微软雅黑"/>
                <a:cs typeface="+mn-cs"/>
              </a:rPr>
              <a:t>eLTE-L</a:t>
            </a:r>
          </a:p>
        </p:txBody>
      </p:sp>
      <p:grpSp>
        <p:nvGrpSpPr>
          <p:cNvPr id="206" name="组合 786"/>
          <p:cNvGrpSpPr/>
          <p:nvPr/>
        </p:nvGrpSpPr>
        <p:grpSpPr>
          <a:xfrm>
            <a:off x="802633" y="7444052"/>
            <a:ext cx="320708" cy="332418"/>
            <a:chOff x="-1264628" y="3564174"/>
            <a:chExt cx="462656" cy="485722"/>
          </a:xfrm>
          <a:solidFill>
            <a:sysClr val="window" lastClr="FFFFFF">
              <a:lumMod val="50000"/>
            </a:sysClr>
          </a:solidFill>
        </p:grpSpPr>
        <p:sp>
          <p:nvSpPr>
            <p:cNvPr id="207" name="Freeform 57"/>
            <p:cNvSpPr>
              <a:spLocks/>
            </p:cNvSpPr>
            <p:nvPr/>
          </p:nvSpPr>
          <p:spPr bwMode="auto">
            <a:xfrm>
              <a:off x="-1231033" y="3564174"/>
              <a:ext cx="152619" cy="113198"/>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08" name="Freeform 58"/>
            <p:cNvSpPr>
              <a:spLocks/>
            </p:cNvSpPr>
            <p:nvPr/>
          </p:nvSpPr>
          <p:spPr bwMode="auto">
            <a:xfrm>
              <a:off x="-1170561" y="3607395"/>
              <a:ext cx="87348" cy="65175"/>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09" name="Freeform 59"/>
            <p:cNvSpPr>
              <a:spLocks/>
            </p:cNvSpPr>
            <p:nvPr/>
          </p:nvSpPr>
          <p:spPr bwMode="auto">
            <a:xfrm>
              <a:off x="-972828" y="3564174"/>
              <a:ext cx="152619" cy="11319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10" name="Freeform 60"/>
            <p:cNvSpPr>
              <a:spLocks/>
            </p:cNvSpPr>
            <p:nvPr/>
          </p:nvSpPr>
          <p:spPr bwMode="auto">
            <a:xfrm>
              <a:off x="-968029" y="3607395"/>
              <a:ext cx="87348" cy="65175"/>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11" name="Freeform 61"/>
            <p:cNvSpPr>
              <a:spLocks noEditPoints="1"/>
            </p:cNvSpPr>
            <p:nvPr/>
          </p:nvSpPr>
          <p:spPr bwMode="auto">
            <a:xfrm>
              <a:off x="-1264628" y="3647186"/>
              <a:ext cx="462656" cy="402710"/>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grpSp>
      <p:grpSp>
        <p:nvGrpSpPr>
          <p:cNvPr id="212" name="组合 786"/>
          <p:cNvGrpSpPr/>
          <p:nvPr/>
        </p:nvGrpSpPr>
        <p:grpSpPr>
          <a:xfrm>
            <a:off x="1565220" y="7453600"/>
            <a:ext cx="320708" cy="332418"/>
            <a:chOff x="-1264628" y="3564174"/>
            <a:chExt cx="462656" cy="485722"/>
          </a:xfrm>
          <a:solidFill>
            <a:sysClr val="window" lastClr="FFFFFF">
              <a:lumMod val="50000"/>
            </a:sysClr>
          </a:solidFill>
        </p:grpSpPr>
        <p:sp>
          <p:nvSpPr>
            <p:cNvPr id="213" name="Freeform 57"/>
            <p:cNvSpPr>
              <a:spLocks/>
            </p:cNvSpPr>
            <p:nvPr/>
          </p:nvSpPr>
          <p:spPr bwMode="auto">
            <a:xfrm>
              <a:off x="-1231033" y="3564174"/>
              <a:ext cx="152619" cy="113198"/>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14" name="Freeform 58"/>
            <p:cNvSpPr>
              <a:spLocks/>
            </p:cNvSpPr>
            <p:nvPr/>
          </p:nvSpPr>
          <p:spPr bwMode="auto">
            <a:xfrm>
              <a:off x="-1170561" y="3607395"/>
              <a:ext cx="87348" cy="65175"/>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15" name="Freeform 59"/>
            <p:cNvSpPr>
              <a:spLocks/>
            </p:cNvSpPr>
            <p:nvPr/>
          </p:nvSpPr>
          <p:spPr bwMode="auto">
            <a:xfrm>
              <a:off x="-972828" y="3564174"/>
              <a:ext cx="152619" cy="11319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16" name="Freeform 60"/>
            <p:cNvSpPr>
              <a:spLocks/>
            </p:cNvSpPr>
            <p:nvPr/>
          </p:nvSpPr>
          <p:spPr bwMode="auto">
            <a:xfrm>
              <a:off x="-968029" y="3607395"/>
              <a:ext cx="87348" cy="65175"/>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17" name="Freeform 61"/>
            <p:cNvSpPr>
              <a:spLocks noEditPoints="1"/>
            </p:cNvSpPr>
            <p:nvPr/>
          </p:nvSpPr>
          <p:spPr bwMode="auto">
            <a:xfrm>
              <a:off x="-1264628" y="3647186"/>
              <a:ext cx="462656" cy="402710"/>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grpSp>
      <p:sp>
        <p:nvSpPr>
          <p:cNvPr id="218" name="1196131895"/>
          <p:cNvSpPr/>
          <p:nvPr/>
        </p:nvSpPr>
        <p:spPr>
          <a:xfrm>
            <a:off x="684251" y="7118568"/>
            <a:ext cx="1334121" cy="276999"/>
          </a:xfrm>
          <a:prstGeom prst="rect">
            <a:avLst/>
          </a:prstGeom>
        </p:spPr>
        <p:txBody>
          <a:bodyPr wrap="square" lIns="0" rIns="0">
            <a:spAutoFit/>
          </a:bodyPr>
          <a:lstStyle/>
          <a:p>
            <a:pPr algn="ctr">
              <a:defRPr/>
            </a:pPr>
            <a:r>
              <a:rPr lang="en-US" altLang="zh-CN" sz="1200" b="1" dirty="0" smtClean="0">
                <a:latin typeface="Arial" panose="020B0604020202020204" pitchFamily="34" charset="0"/>
                <a:ea typeface="微软雅黑" pitchFamily="34" charset="-122"/>
                <a:sym typeface="Arial"/>
              </a:rPr>
              <a:t>eLTE-L</a:t>
            </a:r>
            <a:endParaRPr lang="en-US" altLang="zh-CN" sz="1200" b="1" dirty="0">
              <a:latin typeface="Arial" panose="020B0604020202020204" pitchFamily="34" charset="0"/>
              <a:ea typeface="微软雅黑" pitchFamily="34" charset="-122"/>
              <a:sym typeface="Arial"/>
            </a:endParaRPr>
          </a:p>
        </p:txBody>
      </p:sp>
      <p:sp>
        <p:nvSpPr>
          <p:cNvPr id="219" name="圆角矩形 26"/>
          <p:cNvSpPr>
            <a:spLocks noChangeArrowheads="1"/>
          </p:cNvSpPr>
          <p:nvPr/>
        </p:nvSpPr>
        <p:spPr bwMode="auto">
          <a:xfrm>
            <a:off x="2745237" y="7362914"/>
            <a:ext cx="1422327" cy="485586"/>
          </a:xfrm>
          <a:prstGeom prst="roundRect">
            <a:avLst>
              <a:gd name="adj" fmla="val 16667"/>
            </a:avLst>
          </a:prstGeom>
          <a:solidFill>
            <a:schemeClr val="accent1">
              <a:lumMod val="60000"/>
              <a:lumOff val="40000"/>
            </a:schemeClr>
          </a:solidFill>
          <a:ln>
            <a:solidFill>
              <a:schemeClr val="bg1"/>
            </a:solid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p:spPr>
        <p:txBody>
          <a:bodyPr lIns="16846" tIns="8423" rIns="16846" bIns="8423" anchor="ctr" anchorCtr="1"/>
          <a:lstStyle/>
          <a:p>
            <a:pPr algn="ctr" defTabSz="588012" eaLnBrk="0" fontAlgn="auto" hangingPunct="0">
              <a:lnSpc>
                <a:spcPct val="100000"/>
              </a:lnSpc>
              <a:spcBef>
                <a:spcPts val="0"/>
              </a:spcBef>
              <a:spcAft>
                <a:spcPts val="0"/>
              </a:spcAft>
              <a:buSzPct val="60000"/>
              <a:defRPr/>
            </a:pPr>
            <a:endParaRPr lang="zh-CN" altLang="en-US" sz="1000" b="1" kern="0">
              <a:solidFill>
                <a:srgbClr val="FFFFFF"/>
              </a:solidFill>
              <a:latin typeface="Arial" panose="020B0604020202020204" pitchFamily="34" charset="0"/>
              <a:ea typeface="微软雅黑" pitchFamily="34" charset="-122"/>
              <a:cs typeface="Arial" pitchFamily="34" charset="0"/>
            </a:endParaRPr>
          </a:p>
        </p:txBody>
      </p:sp>
      <p:sp>
        <p:nvSpPr>
          <p:cNvPr id="220" name="TextBox 29"/>
          <p:cNvSpPr txBox="1"/>
          <p:nvPr/>
        </p:nvSpPr>
        <p:spPr>
          <a:xfrm>
            <a:off x="3150216" y="7429501"/>
            <a:ext cx="626083" cy="352411"/>
          </a:xfrm>
          <a:prstGeom prst="rect">
            <a:avLst/>
          </a:prstGeom>
          <a:noFill/>
          <a:ln w="9525" cap="flat" cmpd="sng" algn="ctr">
            <a:noFill/>
            <a:prstDash val="solid"/>
          </a:ln>
          <a:effectLst>
            <a:outerShdw blurRad="40000" dist="20000" dir="5400000" rotWithShape="0">
              <a:srgbClr val="000000">
                <a:alpha val="38000"/>
              </a:srgbClr>
            </a:outerShdw>
          </a:effectLst>
        </p:spPr>
        <p:txBody>
          <a:bodyPr lIns="78144" tIns="39073" rIns="78144" bIns="39073" anchor="ctr"/>
          <a:lstStyle/>
          <a:p>
            <a:pPr marL="0" marR="0" lvl="0" indent="0" algn="ctr" defTabSz="794356" eaLnBrk="1" fontAlgn="auto" latinLnBrk="0" hangingPunct="1">
              <a:lnSpc>
                <a:spcPct val="100000"/>
              </a:lnSpc>
              <a:spcBef>
                <a:spcPts val="0"/>
              </a:spcBef>
              <a:spcAft>
                <a:spcPts val="0"/>
              </a:spcAft>
              <a:buClrTx/>
              <a:buSzTx/>
              <a:buFontTx/>
              <a:buNone/>
              <a:tabLst/>
              <a:defRPr/>
            </a:pPr>
            <a:r>
              <a:rPr kumimoji="0" lang="en-US" altLang="zh-CN" sz="1050" b="0" i="0" u="none" strike="noStrike" kern="0" cap="none" spc="0" normalizeH="0" baseline="0" noProof="0" dirty="0" smtClean="0">
                <a:ln>
                  <a:noFill/>
                </a:ln>
                <a:solidFill>
                  <a:schemeClr val="bg1"/>
                </a:solidFill>
                <a:effectLst/>
                <a:uLnTx/>
                <a:uFillTx/>
                <a:latin typeface="Arial" panose="020B0604020202020204" pitchFamily="34" charset="0"/>
                <a:ea typeface="微软雅黑"/>
                <a:cs typeface="+mn-cs"/>
              </a:rPr>
              <a:t>eLTE-U</a:t>
            </a:r>
          </a:p>
        </p:txBody>
      </p:sp>
      <p:grpSp>
        <p:nvGrpSpPr>
          <p:cNvPr id="221" name="组合 786"/>
          <p:cNvGrpSpPr/>
          <p:nvPr/>
        </p:nvGrpSpPr>
        <p:grpSpPr>
          <a:xfrm>
            <a:off x="2916134" y="7444444"/>
            <a:ext cx="320708" cy="332418"/>
            <a:chOff x="-1264628" y="3564174"/>
            <a:chExt cx="462656" cy="485722"/>
          </a:xfrm>
          <a:solidFill>
            <a:sysClr val="window" lastClr="FFFFFF">
              <a:lumMod val="50000"/>
            </a:sysClr>
          </a:solidFill>
        </p:grpSpPr>
        <p:sp>
          <p:nvSpPr>
            <p:cNvPr id="222" name="Freeform 57"/>
            <p:cNvSpPr>
              <a:spLocks/>
            </p:cNvSpPr>
            <p:nvPr/>
          </p:nvSpPr>
          <p:spPr bwMode="auto">
            <a:xfrm>
              <a:off x="-1231033" y="3564174"/>
              <a:ext cx="152619" cy="113198"/>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23" name="Freeform 58"/>
            <p:cNvSpPr>
              <a:spLocks/>
            </p:cNvSpPr>
            <p:nvPr/>
          </p:nvSpPr>
          <p:spPr bwMode="auto">
            <a:xfrm>
              <a:off x="-1170561" y="3607395"/>
              <a:ext cx="87348" cy="65175"/>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24" name="Freeform 59"/>
            <p:cNvSpPr>
              <a:spLocks/>
            </p:cNvSpPr>
            <p:nvPr/>
          </p:nvSpPr>
          <p:spPr bwMode="auto">
            <a:xfrm>
              <a:off x="-972828" y="3564174"/>
              <a:ext cx="152619" cy="11319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25" name="Freeform 60"/>
            <p:cNvSpPr>
              <a:spLocks/>
            </p:cNvSpPr>
            <p:nvPr/>
          </p:nvSpPr>
          <p:spPr bwMode="auto">
            <a:xfrm>
              <a:off x="-968029" y="3607395"/>
              <a:ext cx="87348" cy="65175"/>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26" name="Freeform 61"/>
            <p:cNvSpPr>
              <a:spLocks noEditPoints="1"/>
            </p:cNvSpPr>
            <p:nvPr/>
          </p:nvSpPr>
          <p:spPr bwMode="auto">
            <a:xfrm>
              <a:off x="-1264628" y="3647186"/>
              <a:ext cx="462656" cy="402710"/>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grpSp>
      <p:grpSp>
        <p:nvGrpSpPr>
          <p:cNvPr id="227" name="组合 786"/>
          <p:cNvGrpSpPr/>
          <p:nvPr/>
        </p:nvGrpSpPr>
        <p:grpSpPr>
          <a:xfrm>
            <a:off x="3678721" y="7453992"/>
            <a:ext cx="320708" cy="332418"/>
            <a:chOff x="-1264628" y="3564174"/>
            <a:chExt cx="462656" cy="485722"/>
          </a:xfrm>
          <a:solidFill>
            <a:sysClr val="window" lastClr="FFFFFF">
              <a:lumMod val="50000"/>
            </a:sysClr>
          </a:solidFill>
        </p:grpSpPr>
        <p:sp>
          <p:nvSpPr>
            <p:cNvPr id="228" name="Freeform 57"/>
            <p:cNvSpPr>
              <a:spLocks/>
            </p:cNvSpPr>
            <p:nvPr/>
          </p:nvSpPr>
          <p:spPr bwMode="auto">
            <a:xfrm>
              <a:off x="-1231033" y="3564174"/>
              <a:ext cx="152619" cy="113198"/>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29" name="Freeform 58"/>
            <p:cNvSpPr>
              <a:spLocks/>
            </p:cNvSpPr>
            <p:nvPr/>
          </p:nvSpPr>
          <p:spPr bwMode="auto">
            <a:xfrm>
              <a:off x="-1170561" y="3607395"/>
              <a:ext cx="87348" cy="65175"/>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30" name="Freeform 59"/>
            <p:cNvSpPr>
              <a:spLocks/>
            </p:cNvSpPr>
            <p:nvPr/>
          </p:nvSpPr>
          <p:spPr bwMode="auto">
            <a:xfrm>
              <a:off x="-972828" y="3564174"/>
              <a:ext cx="152619" cy="11319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31" name="Freeform 60"/>
            <p:cNvSpPr>
              <a:spLocks/>
            </p:cNvSpPr>
            <p:nvPr/>
          </p:nvSpPr>
          <p:spPr bwMode="auto">
            <a:xfrm>
              <a:off x="-968029" y="3607395"/>
              <a:ext cx="87348" cy="65175"/>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32" name="Freeform 61"/>
            <p:cNvSpPr>
              <a:spLocks noEditPoints="1"/>
            </p:cNvSpPr>
            <p:nvPr/>
          </p:nvSpPr>
          <p:spPr bwMode="auto">
            <a:xfrm>
              <a:off x="-1264628" y="3647186"/>
              <a:ext cx="462656" cy="402710"/>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grpSp>
      <p:sp>
        <p:nvSpPr>
          <p:cNvPr id="233" name="937458389"/>
          <p:cNvSpPr/>
          <p:nvPr/>
        </p:nvSpPr>
        <p:spPr>
          <a:xfrm>
            <a:off x="2721008" y="7118960"/>
            <a:ext cx="1472844" cy="276999"/>
          </a:xfrm>
          <a:prstGeom prst="rect">
            <a:avLst/>
          </a:prstGeom>
        </p:spPr>
        <p:txBody>
          <a:bodyPr wrap="square" lIns="0" rIns="0">
            <a:spAutoFit/>
          </a:bodyPr>
          <a:lstStyle/>
          <a:p>
            <a:pPr algn="ctr">
              <a:defRPr/>
            </a:pPr>
            <a:r>
              <a:rPr lang="en-US" altLang="zh-CN" sz="1200" b="1" dirty="0" smtClean="0">
                <a:latin typeface="Arial" panose="020B0604020202020204" pitchFamily="34" charset="0"/>
                <a:ea typeface="微软雅黑" pitchFamily="34" charset="-122"/>
                <a:sym typeface="Arial"/>
              </a:rPr>
              <a:t>eLTE-U</a:t>
            </a:r>
            <a:endParaRPr lang="en-US" altLang="zh-CN" sz="1200" b="1" dirty="0">
              <a:latin typeface="Arial" panose="020B0604020202020204" pitchFamily="34" charset="0"/>
              <a:ea typeface="微软雅黑" pitchFamily="34" charset="-122"/>
              <a:sym typeface="Arial"/>
            </a:endParaRPr>
          </a:p>
        </p:txBody>
      </p:sp>
      <p:sp>
        <p:nvSpPr>
          <p:cNvPr id="234" name="圆角矩形 26"/>
          <p:cNvSpPr>
            <a:spLocks noChangeArrowheads="1"/>
          </p:cNvSpPr>
          <p:nvPr/>
        </p:nvSpPr>
        <p:spPr bwMode="auto">
          <a:xfrm>
            <a:off x="4833469" y="7362914"/>
            <a:ext cx="1422327" cy="485586"/>
          </a:xfrm>
          <a:prstGeom prst="roundRect">
            <a:avLst>
              <a:gd name="adj" fmla="val 16667"/>
            </a:avLst>
          </a:prstGeom>
          <a:solidFill>
            <a:schemeClr val="accent1">
              <a:lumMod val="60000"/>
              <a:lumOff val="40000"/>
            </a:schemeClr>
          </a:solidFill>
          <a:ln>
            <a:solidFill>
              <a:schemeClr val="bg1"/>
            </a:solid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p:spPr>
        <p:txBody>
          <a:bodyPr lIns="16846" tIns="8423" rIns="16846" bIns="8423" anchor="ctr" anchorCtr="1"/>
          <a:lstStyle/>
          <a:p>
            <a:pPr algn="ctr" defTabSz="588012" eaLnBrk="0" hangingPunct="0">
              <a:buSzPct val="60000"/>
              <a:defRPr/>
            </a:pPr>
            <a:endParaRPr lang="zh-CN" altLang="en-US" sz="1000" b="1" kern="0">
              <a:solidFill>
                <a:srgbClr val="FFFFFF"/>
              </a:solidFill>
              <a:latin typeface="Arial" panose="020B0604020202020204" pitchFamily="34" charset="0"/>
              <a:ea typeface="微软雅黑" pitchFamily="34" charset="-122"/>
              <a:cs typeface="Arial" pitchFamily="34" charset="0"/>
            </a:endParaRPr>
          </a:p>
        </p:txBody>
      </p:sp>
      <p:sp>
        <p:nvSpPr>
          <p:cNvPr id="235" name="TextBox 29"/>
          <p:cNvSpPr txBox="1"/>
          <p:nvPr/>
        </p:nvSpPr>
        <p:spPr>
          <a:xfrm>
            <a:off x="5139005" y="7429501"/>
            <a:ext cx="794653" cy="352411"/>
          </a:xfrm>
          <a:prstGeom prst="rect">
            <a:avLst/>
          </a:prstGeom>
          <a:noFill/>
          <a:ln w="9525" cap="flat" cmpd="sng" algn="ctr">
            <a:noFill/>
            <a:prstDash val="solid"/>
          </a:ln>
          <a:effectLst>
            <a:outerShdw blurRad="40000" dist="20000" dir="5400000" rotWithShape="0">
              <a:srgbClr val="000000">
                <a:alpha val="38000"/>
              </a:srgbClr>
            </a:outerShdw>
          </a:effectLst>
        </p:spPr>
        <p:txBody>
          <a:bodyPr lIns="78144" tIns="39073" rIns="78144" bIns="39073" anchor="ctr"/>
          <a:lstStyle/>
          <a:p>
            <a:pPr marL="0" marR="0" lvl="0" indent="0" algn="ctr" defTabSz="794356" eaLnBrk="1" fontAlgn="auto" latinLnBrk="0" hangingPunct="1">
              <a:lnSpc>
                <a:spcPct val="100000"/>
              </a:lnSpc>
              <a:spcBef>
                <a:spcPts val="0"/>
              </a:spcBef>
              <a:spcAft>
                <a:spcPts val="0"/>
              </a:spcAft>
              <a:buClrTx/>
              <a:buSzTx/>
              <a:buFontTx/>
              <a:buNone/>
              <a:tabLst/>
              <a:defRPr/>
            </a:pPr>
            <a:r>
              <a:rPr kumimoji="0" lang="en-US" altLang="zh-CN" sz="1050" b="0" i="0" u="none" strike="noStrike" kern="0" cap="none" spc="0" normalizeH="0" baseline="0" noProof="0" dirty="0" smtClean="0">
                <a:ln>
                  <a:noFill/>
                </a:ln>
                <a:solidFill>
                  <a:schemeClr val="bg1"/>
                </a:solidFill>
                <a:effectLst/>
                <a:uLnTx/>
                <a:uFillTx/>
                <a:latin typeface="Arial" panose="020B0604020202020204" pitchFamily="34" charset="0"/>
                <a:ea typeface="微软雅黑"/>
                <a:cs typeface="+mn-cs"/>
              </a:rPr>
              <a:t>eLTE-IoT</a:t>
            </a:r>
          </a:p>
        </p:txBody>
      </p:sp>
      <p:grpSp>
        <p:nvGrpSpPr>
          <p:cNvPr id="236" name="组合 786"/>
          <p:cNvGrpSpPr/>
          <p:nvPr/>
        </p:nvGrpSpPr>
        <p:grpSpPr>
          <a:xfrm>
            <a:off x="5004366" y="7444444"/>
            <a:ext cx="320708" cy="332418"/>
            <a:chOff x="-1264628" y="3564174"/>
            <a:chExt cx="462656" cy="485722"/>
          </a:xfrm>
          <a:solidFill>
            <a:sysClr val="window" lastClr="FFFFFF">
              <a:lumMod val="50000"/>
            </a:sysClr>
          </a:solidFill>
        </p:grpSpPr>
        <p:sp>
          <p:nvSpPr>
            <p:cNvPr id="237" name="Freeform 57"/>
            <p:cNvSpPr>
              <a:spLocks/>
            </p:cNvSpPr>
            <p:nvPr/>
          </p:nvSpPr>
          <p:spPr bwMode="auto">
            <a:xfrm>
              <a:off x="-1231033" y="3564174"/>
              <a:ext cx="152619" cy="113198"/>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38" name="Freeform 58"/>
            <p:cNvSpPr>
              <a:spLocks/>
            </p:cNvSpPr>
            <p:nvPr/>
          </p:nvSpPr>
          <p:spPr bwMode="auto">
            <a:xfrm>
              <a:off x="-1170561" y="3607395"/>
              <a:ext cx="87348" cy="65175"/>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39" name="Freeform 59"/>
            <p:cNvSpPr>
              <a:spLocks/>
            </p:cNvSpPr>
            <p:nvPr/>
          </p:nvSpPr>
          <p:spPr bwMode="auto">
            <a:xfrm>
              <a:off x="-972828" y="3564174"/>
              <a:ext cx="152619" cy="11319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40" name="Freeform 60"/>
            <p:cNvSpPr>
              <a:spLocks/>
            </p:cNvSpPr>
            <p:nvPr/>
          </p:nvSpPr>
          <p:spPr bwMode="auto">
            <a:xfrm>
              <a:off x="-968029" y="3607395"/>
              <a:ext cx="87348" cy="65175"/>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41" name="Freeform 61"/>
            <p:cNvSpPr>
              <a:spLocks noEditPoints="1"/>
            </p:cNvSpPr>
            <p:nvPr/>
          </p:nvSpPr>
          <p:spPr bwMode="auto">
            <a:xfrm>
              <a:off x="-1264628" y="3647186"/>
              <a:ext cx="462656" cy="402710"/>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grpSp>
      <p:grpSp>
        <p:nvGrpSpPr>
          <p:cNvPr id="242" name="组合 786"/>
          <p:cNvGrpSpPr/>
          <p:nvPr/>
        </p:nvGrpSpPr>
        <p:grpSpPr>
          <a:xfrm>
            <a:off x="5766953" y="7453992"/>
            <a:ext cx="320708" cy="332418"/>
            <a:chOff x="-1264628" y="3564174"/>
            <a:chExt cx="462656" cy="485722"/>
          </a:xfrm>
          <a:solidFill>
            <a:sysClr val="window" lastClr="FFFFFF">
              <a:lumMod val="50000"/>
            </a:sysClr>
          </a:solidFill>
        </p:grpSpPr>
        <p:sp>
          <p:nvSpPr>
            <p:cNvPr id="243" name="Freeform 57"/>
            <p:cNvSpPr>
              <a:spLocks/>
            </p:cNvSpPr>
            <p:nvPr/>
          </p:nvSpPr>
          <p:spPr bwMode="auto">
            <a:xfrm>
              <a:off x="-1231033" y="3564174"/>
              <a:ext cx="152619" cy="113198"/>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44" name="Freeform 58"/>
            <p:cNvSpPr>
              <a:spLocks/>
            </p:cNvSpPr>
            <p:nvPr/>
          </p:nvSpPr>
          <p:spPr bwMode="auto">
            <a:xfrm>
              <a:off x="-1170561" y="3607395"/>
              <a:ext cx="87348" cy="65175"/>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45" name="Freeform 59"/>
            <p:cNvSpPr>
              <a:spLocks/>
            </p:cNvSpPr>
            <p:nvPr/>
          </p:nvSpPr>
          <p:spPr bwMode="auto">
            <a:xfrm>
              <a:off x="-972828" y="3564174"/>
              <a:ext cx="152619" cy="11319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46" name="Freeform 60"/>
            <p:cNvSpPr>
              <a:spLocks/>
            </p:cNvSpPr>
            <p:nvPr/>
          </p:nvSpPr>
          <p:spPr bwMode="auto">
            <a:xfrm>
              <a:off x="-968029" y="3607395"/>
              <a:ext cx="87348" cy="65175"/>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sp>
          <p:nvSpPr>
            <p:cNvPr id="247" name="Freeform 61"/>
            <p:cNvSpPr>
              <a:spLocks noEditPoints="1"/>
            </p:cNvSpPr>
            <p:nvPr/>
          </p:nvSpPr>
          <p:spPr bwMode="auto">
            <a:xfrm>
              <a:off x="-1264628" y="3647186"/>
              <a:ext cx="462656" cy="402710"/>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grpFill/>
            <a:ln w="9525">
              <a:noFill/>
              <a:round/>
              <a:headEnd/>
              <a:tailEnd/>
            </a:ln>
          </p:spPr>
          <p:txBody>
            <a:bodyPr lIns="91439" rIns="91439"/>
            <a:lstStyle/>
            <a:p>
              <a:pPr marL="0" marR="0" lvl="0" indent="0" algn="l" defTabSz="1219444"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panose="020B0604020202020204" pitchFamily="34" charset="0"/>
                <a:ea typeface="微软雅黑"/>
              </a:endParaRPr>
            </a:p>
          </p:txBody>
        </p:sp>
      </p:grpSp>
      <p:sp>
        <p:nvSpPr>
          <p:cNvPr id="248" name="1918302220"/>
          <p:cNvSpPr/>
          <p:nvPr/>
        </p:nvSpPr>
        <p:spPr>
          <a:xfrm>
            <a:off x="4885984" y="7118960"/>
            <a:ext cx="1334121" cy="276999"/>
          </a:xfrm>
          <a:prstGeom prst="rect">
            <a:avLst/>
          </a:prstGeom>
        </p:spPr>
        <p:txBody>
          <a:bodyPr wrap="square" lIns="0" rIns="0">
            <a:spAutoFit/>
          </a:bodyPr>
          <a:lstStyle/>
          <a:p>
            <a:pPr algn="ctr">
              <a:defRPr/>
            </a:pPr>
            <a:r>
              <a:rPr lang="en-US" altLang="zh-CN" sz="1200" b="1" dirty="0" smtClean="0">
                <a:latin typeface="Arial" panose="020B0604020202020204" pitchFamily="34" charset="0"/>
                <a:ea typeface="微软雅黑" pitchFamily="34" charset="-122"/>
                <a:sym typeface="Arial"/>
              </a:rPr>
              <a:t>eLTE-IoT</a:t>
            </a:r>
            <a:endParaRPr lang="en-US" altLang="zh-CN" sz="1200" b="1" dirty="0">
              <a:latin typeface="Arial" panose="020B0604020202020204" pitchFamily="34" charset="0"/>
              <a:ea typeface="微软雅黑" pitchFamily="34" charset="-122"/>
              <a:sym typeface="Arial"/>
            </a:endParaRPr>
          </a:p>
        </p:txBody>
      </p:sp>
      <p:sp>
        <p:nvSpPr>
          <p:cNvPr id="66" name="197836988"/>
          <p:cNvSpPr txBox="1"/>
          <p:nvPr/>
        </p:nvSpPr>
        <p:spPr bwMode="auto">
          <a:xfrm>
            <a:off x="3655334" y="3951964"/>
            <a:ext cx="903853" cy="288000"/>
          </a:xfrm>
          <a:prstGeom prst="rect">
            <a:avLst/>
          </a:prstGeom>
          <a:solidFill>
            <a:srgbClr val="00B050">
              <a:alpha val="80000"/>
            </a:srgbClr>
          </a:solidFill>
          <a:ln w="9525" cap="flat" cmpd="sng" algn="ctr">
            <a:noFill/>
            <a:prstDash val="solid"/>
            <a:round/>
            <a:headEnd type="none" w="med" len="med"/>
            <a:tailEnd type="none" w="med" len="med"/>
          </a:ln>
          <a:effectLst>
            <a:outerShdw blurRad="76200" dist="63500" dir="8100000" algn="tr" rotWithShape="0">
              <a:prstClr val="black">
                <a:alpha val="40000"/>
              </a:prstClr>
            </a:outerShdw>
          </a:effectLst>
          <a:scene3d>
            <a:camera prst="orthographicFront"/>
            <a:lightRig rig="flat" dir="t"/>
          </a:scene3d>
        </p:spPr>
        <p:txBody>
          <a:bodyPr/>
          <a:lstStyle/>
          <a:p>
            <a:pPr marR="0" lvl="0" indent="0" algn="ctr" fontAlgn="auto">
              <a:lnSpc>
                <a:spcPct val="100000"/>
              </a:lnSpc>
              <a:spcBef>
                <a:spcPts val="0"/>
              </a:spcBef>
              <a:spcAft>
                <a:spcPts val="0"/>
              </a:spcAft>
              <a:buClrTx/>
              <a:buSzTx/>
              <a:buFontTx/>
              <a:buNone/>
              <a:tabLst/>
              <a:defRPr/>
            </a:pPr>
            <a:r>
              <a:rPr lang="en-US" altLang="zh-CN" sz="1400" b="1" dirty="0" smtClean="0">
                <a:solidFill>
                  <a:schemeClr val="bg1"/>
                </a:solidFill>
                <a:latin typeface="Arial" panose="020B0604020202020204" pitchFamily="34" charset="0"/>
              </a:rPr>
              <a:t>Safer</a:t>
            </a:r>
            <a:endParaRPr lang="en-US" altLang="zh-CN" sz="1400" b="1" dirty="0">
              <a:solidFill>
                <a:schemeClr val="bg1"/>
              </a:solidFill>
              <a:latin typeface="Arial" panose="020B0604020202020204" pitchFamily="34" charset="0"/>
            </a:endParaRPr>
          </a:p>
        </p:txBody>
      </p:sp>
      <p:sp>
        <p:nvSpPr>
          <p:cNvPr id="149" name="2058936223"/>
          <p:cNvSpPr/>
          <p:nvPr/>
        </p:nvSpPr>
        <p:spPr>
          <a:xfrm>
            <a:off x="563920" y="7861200"/>
            <a:ext cx="1556816" cy="646331"/>
          </a:xfrm>
          <a:prstGeom prst="rect">
            <a:avLst/>
          </a:prstGeom>
          <a:ln>
            <a:noFill/>
          </a:ln>
        </p:spPr>
        <p:txBody>
          <a:bodyPr wrap="square" lIns="0" rIns="0">
            <a:spAutoFit/>
          </a:bodyPr>
          <a:lstStyle/>
          <a:p>
            <a:pPr marL="88900" indent="-88900">
              <a:buFont typeface="Arial" pitchFamily="34" charset="0"/>
              <a:buChar char="•"/>
              <a:defRPr/>
            </a:pPr>
            <a:r>
              <a:rPr lang="en-US" altLang="zh-CN" sz="600" dirty="0" smtClean="0">
                <a:latin typeface="Arial" panose="020B0604020202020204" pitchFamily="34" charset="0"/>
                <a:ea typeface="微软雅黑" pitchFamily="34" charset="-122"/>
                <a:sym typeface="Arial"/>
              </a:rPr>
              <a:t>400 MHz/700 MHz/800 MHz/1.4 GHz/1.8 GHz/2.3 GHz</a:t>
            </a:r>
          </a:p>
          <a:p>
            <a:pPr marL="88900" indent="-88900">
              <a:buFont typeface="Arial" pitchFamily="34" charset="0"/>
              <a:buChar char="•"/>
              <a:defRPr/>
            </a:pPr>
            <a:r>
              <a:rPr lang="en-US" altLang="zh-CN" sz="600" dirty="0" smtClean="0">
                <a:latin typeface="Arial" panose="020B0604020202020204" pitchFamily="34" charset="0"/>
                <a:ea typeface="微软雅黑" pitchFamily="34" charset="-122"/>
                <a:sym typeface="Arial"/>
              </a:rPr>
              <a:t>Voice trunking and group call delay: </a:t>
            </a:r>
            <a:r>
              <a:rPr lang="en-US" altLang="zh-CN" sz="600" dirty="0" smtClean="0">
                <a:solidFill>
                  <a:srgbClr val="FF0000"/>
                </a:solidFill>
                <a:latin typeface="Arial" panose="020B0604020202020204" pitchFamily="34" charset="0"/>
                <a:ea typeface="微软雅黑" pitchFamily="34" charset="-122"/>
                <a:sym typeface="Arial"/>
              </a:rPr>
              <a:t>&lt; 300 ms</a:t>
            </a:r>
          </a:p>
          <a:p>
            <a:pPr marL="88900" indent="-88900">
              <a:buFont typeface="Arial" pitchFamily="34" charset="0"/>
              <a:buChar char="•"/>
              <a:defRPr/>
            </a:pPr>
            <a:r>
              <a:rPr lang="en-US" altLang="zh-CN" sz="600" dirty="0" smtClean="0">
                <a:latin typeface="Arial" panose="020B0604020202020204" pitchFamily="34" charset="0"/>
                <a:ea typeface="微软雅黑" pitchFamily="34" charset="-122"/>
                <a:sym typeface="Arial"/>
              </a:rPr>
              <a:t>Video dispatching with </a:t>
            </a:r>
            <a:r>
              <a:rPr lang="en-US" altLang="zh-CN" sz="600" dirty="0" smtClean="0">
                <a:solidFill>
                  <a:srgbClr val="FF0000"/>
                </a:solidFill>
                <a:latin typeface="Arial" panose="020B0604020202020204" pitchFamily="34" charset="0"/>
                <a:ea typeface="微软雅黑" pitchFamily="34" charset="-122"/>
                <a:sym typeface="Arial"/>
              </a:rPr>
              <a:t>20</a:t>
            </a:r>
            <a:r>
              <a:rPr lang="en-US" altLang="zh-CN" sz="600" dirty="0" smtClean="0">
                <a:latin typeface="Arial" panose="020B0604020202020204" pitchFamily="34" charset="0"/>
                <a:ea typeface="微软雅黑" pitchFamily="34" charset="-122"/>
                <a:sym typeface="Arial"/>
              </a:rPr>
              <a:t>-channel concurrent videos per cell</a:t>
            </a:r>
            <a:endParaRPr lang="en-US" altLang="zh-CN" sz="600" dirty="0">
              <a:latin typeface="Arial" panose="020B0604020202020204" pitchFamily="34" charset="0"/>
              <a:ea typeface="微软雅黑" pitchFamily="34" charset="-122"/>
              <a:sym typeface="Arial"/>
            </a:endParaRPr>
          </a:p>
        </p:txBody>
      </p:sp>
      <p:sp>
        <p:nvSpPr>
          <p:cNvPr id="150" name="矩形 149"/>
          <p:cNvSpPr/>
          <p:nvPr/>
        </p:nvSpPr>
        <p:spPr bwMode="auto">
          <a:xfrm>
            <a:off x="518200" y="7886600"/>
            <a:ext cx="1602536" cy="584775"/>
          </a:xfrm>
          <a:prstGeom prst="rect">
            <a:avLst/>
          </a:prstGeom>
          <a:noFill/>
          <a:ln w="9525" cap="flat" cmpd="sng" algn="ctr">
            <a:solidFill>
              <a:schemeClr val="tx2">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tabLst/>
            </a:pPr>
            <a:endParaRPr lang="zh-CN" altLang="en-US" dirty="0" smtClean="0">
              <a:latin typeface="Arial" panose="020B0604020202020204" pitchFamily="34" charset="0"/>
              <a:ea typeface="微软雅黑" panose="020B0503020204020204" pitchFamily="34" charset="-122"/>
              <a:cs typeface="Arial" panose="020B0604020202020204" pitchFamily="34" charset="0"/>
            </a:endParaRPr>
          </a:p>
        </p:txBody>
      </p:sp>
      <p:sp>
        <p:nvSpPr>
          <p:cNvPr id="151" name="1536721819"/>
          <p:cNvSpPr/>
          <p:nvPr/>
        </p:nvSpPr>
        <p:spPr>
          <a:xfrm>
            <a:off x="2688982" y="7884368"/>
            <a:ext cx="1556816" cy="553998"/>
          </a:xfrm>
          <a:prstGeom prst="rect">
            <a:avLst/>
          </a:prstGeom>
          <a:ln>
            <a:noFill/>
          </a:ln>
        </p:spPr>
        <p:txBody>
          <a:bodyPr wrap="square" lIns="0" rIns="0">
            <a:spAutoFit/>
          </a:bodyPr>
          <a:lstStyle/>
          <a:p>
            <a:pPr marL="88900" indent="-88900">
              <a:buFont typeface="Arial" pitchFamily="34" charset="0"/>
              <a:buChar char="•"/>
              <a:defRPr/>
            </a:pPr>
            <a:r>
              <a:rPr lang="en-US" altLang="zh-CN" sz="600" dirty="0" smtClean="0">
                <a:latin typeface="Arial" panose="020B0604020202020204" pitchFamily="34" charset="0"/>
                <a:ea typeface="微软雅黑" pitchFamily="34" charset="-122"/>
                <a:sym typeface="Arial"/>
              </a:rPr>
              <a:t>2.4 GHz/5.8 GHz</a:t>
            </a:r>
          </a:p>
          <a:p>
            <a:pPr marL="88900" indent="-88900">
              <a:buFont typeface="Arial" pitchFamily="34" charset="0"/>
              <a:buChar char="•"/>
              <a:defRPr/>
            </a:pPr>
            <a:r>
              <a:rPr lang="en-US" altLang="zh-CN" sz="600" dirty="0" smtClean="0">
                <a:solidFill>
                  <a:srgbClr val="FF0000"/>
                </a:solidFill>
                <a:latin typeface="Arial" panose="020B0604020202020204" pitchFamily="34" charset="0"/>
                <a:ea typeface="微软雅黑" pitchFamily="34" charset="-122"/>
                <a:sym typeface="Arial"/>
              </a:rPr>
              <a:t>2-3x </a:t>
            </a:r>
            <a:r>
              <a:rPr lang="en-US" altLang="zh-CN" sz="600" dirty="0" smtClean="0">
                <a:latin typeface="Arial" panose="020B0604020202020204" pitchFamily="34" charset="0"/>
                <a:ea typeface="微软雅黑" pitchFamily="34" charset="-122"/>
                <a:sym typeface="Arial"/>
              </a:rPr>
              <a:t>Wi-Fi coverage</a:t>
            </a:r>
          </a:p>
          <a:p>
            <a:pPr marL="88900" indent="-88900">
              <a:buFont typeface="Arial" pitchFamily="34" charset="0"/>
              <a:buChar char="•"/>
              <a:defRPr/>
            </a:pPr>
            <a:r>
              <a:rPr lang="en-US" altLang="zh-CN" sz="600" dirty="0" smtClean="0">
                <a:latin typeface="Arial" panose="020B0604020202020204" pitchFamily="34" charset="0"/>
                <a:ea typeface="微软雅黑" pitchFamily="34" charset="-122"/>
                <a:sym typeface="Arial"/>
              </a:rPr>
              <a:t>E2E delay: </a:t>
            </a:r>
            <a:r>
              <a:rPr lang="en-US" altLang="zh-CN" sz="600" dirty="0" smtClean="0">
                <a:solidFill>
                  <a:srgbClr val="FF0000"/>
                </a:solidFill>
                <a:latin typeface="Arial" panose="020B0604020202020204" pitchFamily="34" charset="0"/>
                <a:ea typeface="微软雅黑" pitchFamily="34" charset="-122"/>
                <a:sym typeface="Arial"/>
              </a:rPr>
              <a:t>&lt; 50 ms</a:t>
            </a:r>
          </a:p>
          <a:p>
            <a:pPr marL="88900" indent="-88900">
              <a:buFont typeface="Arial" pitchFamily="34" charset="0"/>
              <a:buChar char="•"/>
              <a:defRPr/>
            </a:pPr>
            <a:r>
              <a:rPr lang="en-US" altLang="zh-CN" sz="600" dirty="0" smtClean="0">
                <a:latin typeface="Arial" panose="020B0604020202020204" pitchFamily="34" charset="0"/>
                <a:ea typeface="微软雅黑" pitchFamily="34" charset="-122"/>
                <a:sym typeface="Arial"/>
              </a:rPr>
              <a:t>Super backhaul capability: </a:t>
            </a:r>
            <a:r>
              <a:rPr lang="en-US" altLang="zh-CN" sz="600" dirty="0" smtClean="0">
                <a:solidFill>
                  <a:srgbClr val="FF0000"/>
                </a:solidFill>
                <a:latin typeface="Arial" panose="020B0604020202020204" pitchFamily="34" charset="0"/>
                <a:ea typeface="微软雅黑" pitchFamily="34" charset="-122"/>
                <a:sym typeface="Arial"/>
              </a:rPr>
              <a:t>20 Mbit/s@35 km</a:t>
            </a:r>
            <a:endParaRPr lang="en-US" altLang="zh-CN" sz="600" dirty="0">
              <a:solidFill>
                <a:srgbClr val="FF0000"/>
              </a:solidFill>
              <a:latin typeface="Arial" panose="020B0604020202020204" pitchFamily="34" charset="0"/>
              <a:ea typeface="微软雅黑" pitchFamily="34" charset="-122"/>
              <a:sym typeface="Arial"/>
            </a:endParaRPr>
          </a:p>
        </p:txBody>
      </p:sp>
      <p:sp>
        <p:nvSpPr>
          <p:cNvPr id="184" name="矩形 183"/>
          <p:cNvSpPr/>
          <p:nvPr/>
        </p:nvSpPr>
        <p:spPr bwMode="auto">
          <a:xfrm>
            <a:off x="2643262" y="7884368"/>
            <a:ext cx="1602536" cy="584775"/>
          </a:xfrm>
          <a:prstGeom prst="rect">
            <a:avLst/>
          </a:prstGeom>
          <a:noFill/>
          <a:ln w="9525" cap="flat" cmpd="sng" algn="ctr">
            <a:solidFill>
              <a:schemeClr val="tx2">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tabLst/>
            </a:pPr>
            <a:endParaRPr lang="zh-CN" altLang="en-US" dirty="0" smtClean="0">
              <a:latin typeface="Arial" panose="020B0604020202020204" pitchFamily="34" charset="0"/>
              <a:ea typeface="微软雅黑" panose="020B0503020204020204" pitchFamily="34" charset="-122"/>
              <a:cs typeface="Arial" panose="020B0604020202020204" pitchFamily="34" charset="0"/>
            </a:endParaRPr>
          </a:p>
        </p:txBody>
      </p:sp>
      <p:sp>
        <p:nvSpPr>
          <p:cNvPr id="185" name="1651151979"/>
          <p:cNvSpPr/>
          <p:nvPr/>
        </p:nvSpPr>
        <p:spPr>
          <a:xfrm>
            <a:off x="4766474" y="7861508"/>
            <a:ext cx="1556816" cy="630942"/>
          </a:xfrm>
          <a:prstGeom prst="rect">
            <a:avLst/>
          </a:prstGeom>
          <a:ln>
            <a:noFill/>
          </a:ln>
        </p:spPr>
        <p:txBody>
          <a:bodyPr wrap="square" lIns="0" rIns="0">
            <a:spAutoFit/>
          </a:bodyPr>
          <a:lstStyle/>
          <a:p>
            <a:pPr marL="88900" indent="-88900">
              <a:buFont typeface="Arial" pitchFamily="34" charset="0"/>
              <a:buChar char="•"/>
              <a:defRPr/>
            </a:pPr>
            <a:r>
              <a:rPr lang="en-US" altLang="zh-CN" sz="500" dirty="0" smtClean="0">
                <a:latin typeface="Arial" panose="020B0604020202020204" pitchFamily="34" charset="0"/>
                <a:ea typeface="微软雅黑" pitchFamily="34" charset="-122"/>
                <a:sym typeface="Arial"/>
              </a:rPr>
              <a:t>470-510/863-870/902-928 MHz</a:t>
            </a:r>
          </a:p>
          <a:p>
            <a:pPr marL="88900" indent="-88900">
              <a:buFont typeface="Arial" pitchFamily="34" charset="0"/>
              <a:buChar char="•"/>
              <a:defRPr/>
            </a:pPr>
            <a:r>
              <a:rPr lang="en-US" altLang="zh-CN" sz="500" dirty="0" smtClean="0">
                <a:latin typeface="Arial" panose="020B0604020202020204" pitchFamily="34" charset="0"/>
                <a:ea typeface="微软雅黑" pitchFamily="34" charset="-122"/>
                <a:sym typeface="Arial"/>
              </a:rPr>
              <a:t>Maximum coverage: </a:t>
            </a:r>
            <a:r>
              <a:rPr lang="en-US" altLang="zh-CN" sz="500" dirty="0" smtClean="0">
                <a:solidFill>
                  <a:srgbClr val="FF0000"/>
                </a:solidFill>
                <a:latin typeface="Arial" panose="020B0604020202020204" pitchFamily="34" charset="0"/>
                <a:ea typeface="微软雅黑" pitchFamily="34" charset="-122"/>
                <a:sym typeface="Arial"/>
              </a:rPr>
              <a:t>10 km</a:t>
            </a:r>
            <a:r>
              <a:rPr lang="en-US" altLang="zh-CN" sz="500" dirty="0" smtClean="0">
                <a:latin typeface="Arial" panose="020B0604020202020204" pitchFamily="34" charset="0"/>
                <a:ea typeface="微软雅黑" pitchFamily="34" charset="-122"/>
                <a:sym typeface="Arial"/>
              </a:rPr>
              <a:t>; basement level: </a:t>
            </a:r>
            <a:r>
              <a:rPr lang="en-US" altLang="zh-CN" sz="500" dirty="0" smtClean="0">
                <a:solidFill>
                  <a:srgbClr val="FF0000"/>
                </a:solidFill>
                <a:latin typeface="Arial" panose="020B0604020202020204" pitchFamily="34" charset="0"/>
                <a:ea typeface="微软雅黑" pitchFamily="34" charset="-122"/>
                <a:sym typeface="Arial"/>
              </a:rPr>
              <a:t>2</a:t>
            </a:r>
          </a:p>
          <a:p>
            <a:pPr marL="88900" indent="-88900">
              <a:buFont typeface="Arial" pitchFamily="34" charset="0"/>
              <a:buChar char="•"/>
              <a:defRPr/>
            </a:pPr>
            <a:r>
              <a:rPr lang="en-US" altLang="zh-CN" sz="500" dirty="0" smtClean="0">
                <a:latin typeface="Arial" panose="020B0604020202020204" pitchFamily="34" charset="0"/>
                <a:ea typeface="微软雅黑" pitchFamily="34" charset="-122"/>
                <a:sym typeface="Arial"/>
              </a:rPr>
              <a:t>High-density connection: </a:t>
            </a:r>
            <a:r>
              <a:rPr lang="en-US" altLang="zh-CN" sz="500" dirty="0" smtClean="0">
                <a:solidFill>
                  <a:srgbClr val="FF0000"/>
                </a:solidFill>
                <a:latin typeface="Arial" panose="020B0604020202020204" pitchFamily="34" charset="0"/>
                <a:ea typeface="微软雅黑" pitchFamily="34" charset="-122"/>
                <a:sym typeface="Arial"/>
              </a:rPr>
              <a:t>10,000 </a:t>
            </a:r>
            <a:r>
              <a:rPr lang="en-US" altLang="zh-CN" sz="500" dirty="0" smtClean="0">
                <a:latin typeface="Arial" panose="020B0604020202020204" pitchFamily="34" charset="0"/>
                <a:ea typeface="微软雅黑" pitchFamily="34" charset="-122"/>
                <a:sym typeface="Arial"/>
              </a:rPr>
              <a:t>connections per cell</a:t>
            </a:r>
          </a:p>
          <a:p>
            <a:pPr marL="88900" indent="-88900">
              <a:buFont typeface="Arial" pitchFamily="34" charset="0"/>
              <a:buChar char="•"/>
              <a:defRPr/>
            </a:pPr>
            <a:r>
              <a:rPr lang="en-US" altLang="zh-CN" sz="500" dirty="0" smtClean="0">
                <a:latin typeface="Arial" panose="020B0604020202020204" pitchFamily="34" charset="0"/>
                <a:ea typeface="微软雅黑" pitchFamily="34" charset="-122"/>
                <a:sym typeface="Arial"/>
              </a:rPr>
              <a:t>Ultra-low power consumption with a maximum battery service life of </a:t>
            </a:r>
            <a:r>
              <a:rPr lang="en-US" altLang="zh-CN" sz="500" dirty="0" smtClean="0">
                <a:solidFill>
                  <a:srgbClr val="FF0000"/>
                </a:solidFill>
                <a:latin typeface="Arial" panose="020B0604020202020204" pitchFamily="34" charset="0"/>
                <a:ea typeface="微软雅黑" pitchFamily="34" charset="-122"/>
                <a:sym typeface="Arial"/>
              </a:rPr>
              <a:t>10 </a:t>
            </a:r>
            <a:r>
              <a:rPr lang="en-US" altLang="zh-CN" sz="500" dirty="0" smtClean="0">
                <a:latin typeface="Arial" panose="020B0604020202020204" pitchFamily="34" charset="0"/>
                <a:ea typeface="微软雅黑" pitchFamily="34" charset="-122"/>
                <a:sym typeface="Arial"/>
              </a:rPr>
              <a:t>years for vehicle detectors of 10 years</a:t>
            </a:r>
          </a:p>
        </p:txBody>
      </p:sp>
      <p:sp>
        <p:nvSpPr>
          <p:cNvPr id="186" name="矩形 185"/>
          <p:cNvSpPr/>
          <p:nvPr/>
        </p:nvSpPr>
        <p:spPr bwMode="auto">
          <a:xfrm>
            <a:off x="4720754" y="7884368"/>
            <a:ext cx="1602536" cy="584775"/>
          </a:xfrm>
          <a:prstGeom prst="rect">
            <a:avLst/>
          </a:prstGeom>
          <a:noFill/>
          <a:ln w="9525" cap="flat" cmpd="sng" algn="ctr">
            <a:solidFill>
              <a:schemeClr val="tx2">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tabLst/>
            </a:pPr>
            <a:endParaRPr lang="zh-CN" altLang="en-US" dirty="0" smtClean="0">
              <a:latin typeface="Arial" panose="020B0604020202020204" pitchFamily="34" charset="0"/>
              <a:ea typeface="微软雅黑" panose="020B0503020204020204" pitchFamily="34" charset="-122"/>
              <a:cs typeface="Arial" panose="020B0604020202020204" pitchFamily="34" charset="0"/>
            </a:endParaRPr>
          </a:p>
        </p:txBody>
      </p:sp>
      <p:sp>
        <p:nvSpPr>
          <p:cNvPr id="5" name="椭圆 4"/>
          <p:cNvSpPr/>
          <p:nvPr/>
        </p:nvSpPr>
        <p:spPr>
          <a:xfrm>
            <a:off x="737717" y="2411760"/>
            <a:ext cx="707989" cy="709471"/>
          </a:xfrm>
          <a:prstGeom prst="ellipse">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ndParaRPr>
          </a:p>
        </p:txBody>
      </p:sp>
      <p:sp>
        <p:nvSpPr>
          <p:cNvPr id="6" name="42447313"/>
          <p:cNvSpPr txBox="1"/>
          <p:nvPr/>
        </p:nvSpPr>
        <p:spPr>
          <a:xfrm>
            <a:off x="673885" y="2621159"/>
            <a:ext cx="863353" cy="338554"/>
          </a:xfrm>
          <a:prstGeom prst="rect">
            <a:avLst/>
          </a:prstGeom>
          <a:noFill/>
        </p:spPr>
        <p:txBody>
          <a:bodyPr wrap="square" rtlCol="0">
            <a:spAutoFit/>
          </a:bodyPr>
          <a:lstStyle/>
          <a:p>
            <a:pPr algn="ctr"/>
            <a:r>
              <a:rPr lang="en-US" altLang="zh-CN" sz="800" dirty="0" smtClean="0">
                <a:latin typeface="Arial" panose="020B0604020202020204" pitchFamily="34" charset="0"/>
              </a:rPr>
              <a:t>Traffic congestion</a:t>
            </a:r>
            <a:endParaRPr lang="zh-CN" altLang="en-US" sz="800" dirty="0">
              <a:latin typeface="Arial" panose="020B0604020202020204" pitchFamily="34" charset="0"/>
            </a:endParaRPr>
          </a:p>
        </p:txBody>
      </p:sp>
      <p:sp>
        <p:nvSpPr>
          <p:cNvPr id="187" name="112794800"/>
          <p:cNvSpPr txBox="1"/>
          <p:nvPr/>
        </p:nvSpPr>
        <p:spPr>
          <a:xfrm>
            <a:off x="1540918" y="2621159"/>
            <a:ext cx="863353" cy="338554"/>
          </a:xfrm>
          <a:prstGeom prst="rect">
            <a:avLst/>
          </a:prstGeom>
          <a:noFill/>
        </p:spPr>
        <p:txBody>
          <a:bodyPr wrap="square" rtlCol="0">
            <a:spAutoFit/>
          </a:bodyPr>
          <a:lstStyle/>
          <a:p>
            <a:pPr algn="ctr"/>
            <a:r>
              <a:rPr lang="en-US" altLang="zh-CN" sz="800" dirty="0" smtClean="0">
                <a:latin typeface="Arial" panose="020B0604020202020204" pitchFamily="34" charset="0"/>
              </a:rPr>
              <a:t>Environmental pollution</a:t>
            </a:r>
            <a:endParaRPr lang="zh-CN" altLang="en-US" sz="800" dirty="0">
              <a:latin typeface="Arial" panose="020B0604020202020204" pitchFamily="34" charset="0"/>
            </a:endParaRPr>
          </a:p>
        </p:txBody>
      </p:sp>
      <p:sp>
        <p:nvSpPr>
          <p:cNvPr id="188" name="310247451"/>
          <p:cNvSpPr txBox="1"/>
          <p:nvPr/>
        </p:nvSpPr>
        <p:spPr>
          <a:xfrm>
            <a:off x="676822" y="3549521"/>
            <a:ext cx="863353" cy="215444"/>
          </a:xfrm>
          <a:prstGeom prst="rect">
            <a:avLst/>
          </a:prstGeom>
          <a:noFill/>
        </p:spPr>
        <p:txBody>
          <a:bodyPr wrap="square" rtlCol="0">
            <a:spAutoFit/>
          </a:bodyPr>
          <a:lstStyle/>
          <a:p>
            <a:pPr algn="ctr"/>
            <a:r>
              <a:rPr lang="en-US" altLang="zh-CN" sz="800" dirty="0" smtClean="0">
                <a:latin typeface="Arial" panose="020B0604020202020204" pitchFamily="34" charset="0"/>
              </a:rPr>
              <a:t>City security</a:t>
            </a:r>
            <a:endParaRPr lang="zh-CN" altLang="en-US" sz="800" dirty="0">
              <a:latin typeface="Arial" panose="020B0604020202020204" pitchFamily="34" charset="0"/>
            </a:endParaRPr>
          </a:p>
        </p:txBody>
      </p:sp>
      <p:sp>
        <p:nvSpPr>
          <p:cNvPr id="189" name="664532811"/>
          <p:cNvSpPr txBox="1"/>
          <p:nvPr/>
        </p:nvSpPr>
        <p:spPr>
          <a:xfrm>
            <a:off x="1540918" y="3487966"/>
            <a:ext cx="863353" cy="338554"/>
          </a:xfrm>
          <a:prstGeom prst="rect">
            <a:avLst/>
          </a:prstGeom>
          <a:noFill/>
        </p:spPr>
        <p:txBody>
          <a:bodyPr wrap="square" rtlCol="0">
            <a:spAutoFit/>
          </a:bodyPr>
          <a:lstStyle/>
          <a:p>
            <a:pPr algn="ctr"/>
            <a:r>
              <a:rPr lang="en-US" altLang="zh-CN" sz="800" dirty="0" smtClean="0">
                <a:latin typeface="Arial" panose="020B0604020202020204" pitchFamily="34" charset="0"/>
              </a:rPr>
              <a:t>Energy shortage</a:t>
            </a:r>
            <a:endParaRPr lang="zh-CN" altLang="en-US" sz="800" dirty="0">
              <a:latin typeface="Arial" panose="020B0604020202020204" pitchFamily="34" charset="0"/>
            </a:endParaRPr>
          </a:p>
        </p:txBody>
      </p:sp>
      <p:sp>
        <p:nvSpPr>
          <p:cNvPr id="197" name="椭圆 196"/>
          <p:cNvSpPr/>
          <p:nvPr/>
        </p:nvSpPr>
        <p:spPr>
          <a:xfrm>
            <a:off x="1612926" y="2411761"/>
            <a:ext cx="707989" cy="687876"/>
          </a:xfrm>
          <a:prstGeom prst="ellipse">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ndParaRPr>
          </a:p>
        </p:txBody>
      </p:sp>
      <p:sp>
        <p:nvSpPr>
          <p:cNvPr id="249" name="椭圆 248"/>
          <p:cNvSpPr/>
          <p:nvPr/>
        </p:nvSpPr>
        <p:spPr>
          <a:xfrm>
            <a:off x="760921" y="3310060"/>
            <a:ext cx="707989" cy="685876"/>
          </a:xfrm>
          <a:prstGeom prst="ellipse">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ndParaRPr>
          </a:p>
        </p:txBody>
      </p:sp>
      <p:sp>
        <p:nvSpPr>
          <p:cNvPr id="250" name="椭圆 249"/>
          <p:cNvSpPr/>
          <p:nvPr/>
        </p:nvSpPr>
        <p:spPr>
          <a:xfrm>
            <a:off x="1612926" y="3318106"/>
            <a:ext cx="707989" cy="677829"/>
          </a:xfrm>
          <a:prstGeom prst="ellipse">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ndParaRPr>
          </a:p>
        </p:txBody>
      </p:sp>
      <p:cxnSp>
        <p:nvCxnSpPr>
          <p:cNvPr id="8" name="直接连接符 7"/>
          <p:cNvCxnSpPr/>
          <p:nvPr/>
        </p:nvCxnSpPr>
        <p:spPr>
          <a:xfrm>
            <a:off x="331930" y="2052568"/>
            <a:ext cx="243148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直接连接符 250"/>
          <p:cNvCxnSpPr/>
          <p:nvPr/>
        </p:nvCxnSpPr>
        <p:spPr>
          <a:xfrm>
            <a:off x="3528357" y="2052568"/>
            <a:ext cx="281379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2" name="矩形 251"/>
          <p:cNvSpPr/>
          <p:nvPr/>
        </p:nvSpPr>
        <p:spPr>
          <a:xfrm>
            <a:off x="399628" y="8532822"/>
            <a:ext cx="2110031" cy="184666"/>
          </a:xfrm>
          <a:prstGeom prst="rect">
            <a:avLst/>
          </a:prstGeom>
        </p:spPr>
        <p:txBody>
          <a:bodyPr wrap="square">
            <a:spAutoFit/>
          </a:bodyPr>
          <a:lstStyle/>
          <a:p>
            <a:pPr>
              <a:defRPr/>
            </a:pPr>
            <a:r>
              <a:rPr lang="en-US" altLang="zh-CN" sz="600" i="1" dirty="0" smtClean="0">
                <a:latin typeface="Arial" panose="020B0604020202020204" pitchFamily="34" charset="0"/>
                <a:ea typeface="微软雅黑" pitchFamily="34" charset="-122"/>
                <a:sym typeface="Arial"/>
              </a:rPr>
              <a:t>ISM Band</a:t>
            </a:r>
            <a:r>
              <a:rPr lang="en-US" altLang="zh-CN" sz="600" i="1" smtClean="0">
                <a:latin typeface="Arial" panose="020B0604020202020204" pitchFamily="34" charset="0"/>
                <a:ea typeface="微软雅黑" pitchFamily="34" charset="-122"/>
                <a:sym typeface="Arial"/>
              </a:rPr>
              <a:t>: 470-510/863-870/902-928 MHz</a:t>
            </a:r>
            <a:endParaRPr lang="en-US" altLang="zh-CN" sz="600" i="1" dirty="0" smtClean="0">
              <a:latin typeface="Arial" panose="020B0604020202020204" pitchFamily="34" charset="0"/>
              <a:ea typeface="微软雅黑" pitchFamily="34" charset="-122"/>
              <a:sym typeface="Arial"/>
            </a:endParaRPr>
          </a:p>
        </p:txBody>
      </p:sp>
    </p:spTree>
    <p:extLst>
      <p:ext uri="{BB962C8B-B14F-4D97-AF65-F5344CB8AC3E}">
        <p14:creationId xmlns:p14="http://schemas.microsoft.com/office/powerpoint/2010/main" xmlns="" val="15801047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909984266"/>
          <p:cNvSpPr txBox="1"/>
          <p:nvPr/>
        </p:nvSpPr>
        <p:spPr>
          <a:xfrm>
            <a:off x="0" y="611560"/>
            <a:ext cx="6857999" cy="307777"/>
          </a:xfrm>
          <a:prstGeom prst="rect">
            <a:avLst/>
          </a:prstGeom>
          <a:solidFill>
            <a:srgbClr val="2DA159"/>
          </a:solidFill>
        </p:spPr>
        <p:txBody>
          <a:bodyPr wrap="square" rtlCol="0">
            <a:spAutoFit/>
          </a:bodyPr>
          <a:lstStyle>
            <a:defPPr>
              <a:defRPr lang="zh-CN"/>
            </a:defPPr>
            <a:lvl1pPr>
              <a:defRPr b="1">
                <a:solidFill>
                  <a:schemeClr val="bg1"/>
                </a:solidFill>
                <a:latin typeface="+mj-ea"/>
                <a:ea typeface="+mj-ea"/>
              </a:defRPr>
            </a:lvl1pPr>
          </a:lstStyle>
          <a:p>
            <a:r>
              <a:rPr lang="en-US" altLang="zh-CN" sz="1400" dirty="0" smtClean="0">
                <a:latin typeface="Arial" panose="020B0604020202020204" pitchFamily="34" charset="0"/>
              </a:rPr>
              <a:t>Convergent command, visualized city management</a:t>
            </a:r>
            <a:endParaRPr lang="zh-CN" altLang="en-US" sz="1400" dirty="0">
              <a:latin typeface="Arial" panose="020B0604020202020204" pitchFamily="34" charset="0"/>
            </a:endParaRPr>
          </a:p>
        </p:txBody>
      </p:sp>
      <p:sp>
        <p:nvSpPr>
          <p:cNvPr id="98" name="1649936671"/>
          <p:cNvSpPr txBox="1"/>
          <p:nvPr/>
        </p:nvSpPr>
        <p:spPr>
          <a:xfrm>
            <a:off x="-1258" y="4505618"/>
            <a:ext cx="6857999" cy="307777"/>
          </a:xfrm>
          <a:prstGeom prst="rect">
            <a:avLst/>
          </a:prstGeom>
          <a:solidFill>
            <a:srgbClr val="2DA159"/>
          </a:solidFill>
        </p:spPr>
        <p:txBody>
          <a:bodyPr wrap="square" rtlCol="0">
            <a:spAutoFit/>
          </a:bodyPr>
          <a:lstStyle>
            <a:defPPr>
              <a:defRPr lang="zh-CN"/>
            </a:defPPr>
            <a:lvl1pPr>
              <a:defRPr b="1">
                <a:solidFill>
                  <a:schemeClr val="bg1"/>
                </a:solidFill>
                <a:latin typeface="+mj-ea"/>
                <a:ea typeface="+mj-ea"/>
              </a:defRPr>
            </a:lvl1pPr>
          </a:lstStyle>
          <a:p>
            <a:pPr algn="r"/>
            <a:r>
              <a:rPr lang="en-US" altLang="zh-CN" sz="1400" dirty="0" smtClean="0">
                <a:latin typeface="Arial" panose="020B0604020202020204" pitchFamily="34" charset="0"/>
              </a:rPr>
              <a:t>IoT-based monitoring for intelligent fire extinguishing and public fire safety</a:t>
            </a:r>
            <a:endParaRPr lang="zh-CN" altLang="en-US" sz="1400" dirty="0">
              <a:latin typeface="Arial" panose="020B0604020202020204" pitchFamily="34" charset="0"/>
            </a:endParaRPr>
          </a:p>
        </p:txBody>
      </p:sp>
      <p:sp>
        <p:nvSpPr>
          <p:cNvPr id="102" name="1659712378"/>
          <p:cNvSpPr>
            <a:spLocks noGrp="1"/>
          </p:cNvSpPr>
          <p:nvPr>
            <p:ph type="subTitle" idx="1"/>
          </p:nvPr>
        </p:nvSpPr>
        <p:spPr>
          <a:xfrm>
            <a:off x="-27384" y="73131"/>
            <a:ext cx="4929180" cy="538429"/>
          </a:xfrm>
        </p:spPr>
        <p:txBody>
          <a:bodyPr>
            <a:noAutofit/>
          </a:bodyPr>
          <a:lstStyle/>
          <a:p>
            <a:r>
              <a:rPr lang="en-US" altLang="zh-CN" sz="2000" b="1" dirty="0" smtClean="0">
                <a:latin typeface="Arial" panose="020B0604020202020204" pitchFamily="34" charset="0"/>
              </a:rPr>
              <a:t>Smart City Solution Scenarios – Safer</a:t>
            </a:r>
            <a:endParaRPr lang="zh-CN" altLang="en-US" sz="2000" b="1" dirty="0">
              <a:latin typeface="Arial" panose="020B0604020202020204" pitchFamily="34" charset="0"/>
            </a:endParaRPr>
          </a:p>
        </p:txBody>
      </p:sp>
      <p:sp>
        <p:nvSpPr>
          <p:cNvPr id="5" name="矩形 4"/>
          <p:cNvSpPr/>
          <p:nvPr/>
        </p:nvSpPr>
        <p:spPr bwMode="auto">
          <a:xfrm>
            <a:off x="50800" y="1043420"/>
            <a:ext cx="4327004" cy="3387739"/>
          </a:xfrm>
          <a:prstGeom prst="rect">
            <a:avLst/>
          </a:prstGeom>
          <a:noFill/>
          <a:ln w="9525" cap="flat" cmpd="sng" algn="ctr">
            <a:solidFill>
              <a:schemeClr val="tx2">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tabLst/>
            </a:pPr>
            <a:endParaRPr lang="zh-CN" altLang="en-US" dirty="0" smtClean="0">
              <a:latin typeface="Arial" panose="020B0604020202020204" pitchFamily="34" charset="0"/>
              <a:ea typeface="微软雅黑" panose="020B0503020204020204" pitchFamily="34" charset="-122"/>
              <a:cs typeface="Arial" panose="020B0604020202020204" pitchFamily="34" charset="0"/>
            </a:endParaRPr>
          </a:p>
        </p:txBody>
      </p:sp>
      <p:pic>
        <p:nvPicPr>
          <p:cNvPr id="7" name="图片 6"/>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263113" y="3089219"/>
            <a:ext cx="190099" cy="306952"/>
          </a:xfrm>
          <a:prstGeom prst="rect">
            <a:avLst/>
          </a:prstGeom>
        </p:spPr>
      </p:pic>
      <p:sp>
        <p:nvSpPr>
          <p:cNvPr id="8" name="1527316117"/>
          <p:cNvSpPr/>
          <p:nvPr/>
        </p:nvSpPr>
        <p:spPr>
          <a:xfrm>
            <a:off x="91263" y="2793637"/>
            <a:ext cx="4254581" cy="295583"/>
          </a:xfrm>
          <a:prstGeom prst="rect">
            <a:avLst/>
          </a:prstGeom>
          <a:solidFill>
            <a:srgbClr val="66FFFF">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2" tIns="45690" rIns="91392" bIns="45690" rtlCol="0" anchor="ctr"/>
          <a:lstStyle/>
          <a:p>
            <a:pPr algn="ctr" defTabSz="1218793"/>
            <a:r>
              <a:rPr lang="en-US" altLang="zh-CN" sz="1200" b="1" dirty="0" smtClean="0">
                <a:solidFill>
                  <a:schemeClr val="tx1"/>
                </a:solidFill>
                <a:latin typeface="Arial" panose="020B0604020202020204" pitchFamily="34" charset="0"/>
                <a:ea typeface="微软雅黑" pitchFamily="34" charset="-122"/>
              </a:rPr>
              <a:t>PWI – integrated information platform</a:t>
            </a:r>
            <a:endParaRPr lang="zh-CN" altLang="en-US" sz="1200" b="1" dirty="0">
              <a:solidFill>
                <a:schemeClr val="tx1"/>
              </a:solidFill>
              <a:latin typeface="Arial" panose="020B0604020202020204" pitchFamily="34" charset="0"/>
              <a:ea typeface="微软雅黑" pitchFamily="34" charset="-122"/>
            </a:endParaRPr>
          </a:p>
        </p:txBody>
      </p:sp>
      <p:sp>
        <p:nvSpPr>
          <p:cNvPr id="9" name="燕尾形 8"/>
          <p:cNvSpPr/>
          <p:nvPr/>
        </p:nvSpPr>
        <p:spPr>
          <a:xfrm>
            <a:off x="91263" y="1089155"/>
            <a:ext cx="4254581" cy="1440780"/>
          </a:xfrm>
          <a:prstGeom prst="chevron">
            <a:avLst>
              <a:gd name="adj" fmla="val 0"/>
            </a:avLst>
          </a:prstGeom>
          <a:solidFill>
            <a:sysClr val="window" lastClr="FFFFFF">
              <a:lumMod val="65000"/>
              <a:alpha val="40000"/>
            </a:sysClr>
          </a:solidFill>
          <a:ln w="12700">
            <a:noFill/>
            <a:round/>
            <a:headEnd/>
            <a:tailEnd/>
          </a:ln>
        </p:spPr>
        <p:txBody>
          <a:bodyPr vert="horz" wrap="square" lIns="121880" tIns="60940" rIns="121880" bIns="60940" numCol="1" anchor="ctr" anchorCtr="1" compatLnSpc="1">
            <a:prstTxWarp prst="textNoShape">
              <a:avLst/>
            </a:prstTxWarp>
          </a:bodyPr>
          <a:lstStyle/>
          <a:p>
            <a:pPr algn="ctr" defTabSz="1218793">
              <a:lnSpc>
                <a:spcPct val="120000"/>
              </a:lnSpc>
            </a:pPr>
            <a:endParaRPr lang="zh-CN" altLang="en-US" sz="1200" kern="0" dirty="0">
              <a:solidFill>
                <a:sysClr val="window" lastClr="FFFFFF"/>
              </a:solidFill>
              <a:effectLst>
                <a:outerShdw blurRad="38100" dist="38100" dir="2700000" algn="tl">
                  <a:srgbClr val="000000">
                    <a:alpha val="43137"/>
                  </a:srgbClr>
                </a:outerShdw>
              </a:effectLst>
              <a:latin typeface="Arial" panose="020B0604020202020204" pitchFamily="34" charset="0"/>
              <a:ea typeface="微软雅黑" pitchFamily="34" charset="-122"/>
              <a:cs typeface="Arial" pitchFamily="34" charset="0"/>
              <a:sym typeface="Wingdings" pitchFamily="2" charset="2"/>
            </a:endParaRPr>
          </a:p>
        </p:txBody>
      </p:sp>
      <p:sp>
        <p:nvSpPr>
          <p:cNvPr id="10" name="1192299037"/>
          <p:cNvSpPr>
            <a:spLocks noChangeArrowheads="1"/>
          </p:cNvSpPr>
          <p:nvPr/>
        </p:nvSpPr>
        <p:spPr bwMode="auto">
          <a:xfrm>
            <a:off x="2631028" y="1998578"/>
            <a:ext cx="1700509" cy="426417"/>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a:extLst/>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en-US" altLang="zh-CN" sz="1200" b="1" dirty="0" smtClean="0">
                <a:solidFill>
                  <a:prstClr val="white"/>
                </a:solidFill>
                <a:latin typeface="Arial" panose="020B0604020202020204" pitchFamily="34" charset="0"/>
                <a:ea typeface="微软雅黑" pitchFamily="34" charset="-122"/>
              </a:rPr>
              <a:t>CAD platform</a:t>
            </a:r>
          </a:p>
          <a:p>
            <a:pPr algn="ctr" defTabSz="913909" eaLnBrk="0" fontAlgn="base" hangingPunct="0">
              <a:spcBef>
                <a:spcPct val="0"/>
              </a:spcBef>
              <a:spcAft>
                <a:spcPct val="0"/>
              </a:spcAft>
              <a:buClr>
                <a:srgbClr val="CC9900"/>
              </a:buClr>
            </a:pPr>
            <a:r>
              <a:rPr lang="en-US" altLang="zh-CN" sz="900" b="1" dirty="0" smtClean="0">
                <a:solidFill>
                  <a:prstClr val="white"/>
                </a:solidFill>
                <a:latin typeface="Arial" panose="020B0604020202020204" pitchFamily="34" charset="0"/>
                <a:ea typeface="微软雅黑" pitchFamily="34" charset="-122"/>
              </a:rPr>
              <a:t>(Hexagon and DS)</a:t>
            </a:r>
            <a:endParaRPr lang="zh-CN" altLang="en-US" sz="1000" b="1" dirty="0" smtClean="0">
              <a:solidFill>
                <a:prstClr val="white"/>
              </a:solidFill>
              <a:latin typeface="Arial" panose="020B0604020202020204" pitchFamily="34" charset="0"/>
              <a:ea typeface="微软雅黑" pitchFamily="34" charset="-122"/>
            </a:endParaRPr>
          </a:p>
        </p:txBody>
      </p:sp>
      <p:grpSp>
        <p:nvGrpSpPr>
          <p:cNvPr id="15" name="组合 87"/>
          <p:cNvGrpSpPr/>
          <p:nvPr/>
        </p:nvGrpSpPr>
        <p:grpSpPr>
          <a:xfrm>
            <a:off x="799966" y="1091754"/>
            <a:ext cx="3531571" cy="900496"/>
            <a:chOff x="1249778" y="853342"/>
            <a:chExt cx="7186269" cy="1396159"/>
          </a:xfrm>
        </p:grpSpPr>
        <p:pic>
          <p:nvPicPr>
            <p:cNvPr id="70" name="图片 69" descr="5202013_101848_1.gif"/>
            <p:cNvPicPr>
              <a:picLocks/>
            </p:cNvPicPr>
            <p:nvPr/>
          </p:nvPicPr>
          <p:blipFill>
            <a:blip r:embed="rId6" cstate="print"/>
            <a:stretch>
              <a:fillRect/>
            </a:stretch>
          </p:blipFill>
          <p:spPr>
            <a:xfrm>
              <a:off x="2232871" y="870265"/>
              <a:ext cx="5167499" cy="1361115"/>
            </a:xfrm>
            <a:prstGeom prst="rect">
              <a:avLst/>
            </a:prstGeom>
            <a:ln w="9525">
              <a:solidFill>
                <a:srgbClr val="0070C0"/>
              </a:solidFill>
            </a:ln>
          </p:spPr>
        </p:pic>
        <p:sp>
          <p:nvSpPr>
            <p:cNvPr id="71" name="Freeform 5"/>
            <p:cNvSpPr>
              <a:spLocks noChangeAspect="1" noEditPoints="1"/>
            </p:cNvSpPr>
            <p:nvPr/>
          </p:nvSpPr>
          <p:spPr bwMode="auto">
            <a:xfrm>
              <a:off x="3277587" y="1451605"/>
              <a:ext cx="207888" cy="157938"/>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solidFill>
              <a:srgbClr val="00B0F0"/>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72" name="Freeform 5"/>
            <p:cNvSpPr>
              <a:spLocks noChangeAspect="1" noEditPoints="1"/>
            </p:cNvSpPr>
            <p:nvPr/>
          </p:nvSpPr>
          <p:spPr bwMode="auto">
            <a:xfrm>
              <a:off x="3629276" y="1557739"/>
              <a:ext cx="207888" cy="157938"/>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solidFill>
              <a:srgbClr val="00B0F0"/>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73" name="Freeform 5"/>
            <p:cNvSpPr>
              <a:spLocks noChangeAspect="1" noEditPoints="1"/>
            </p:cNvSpPr>
            <p:nvPr/>
          </p:nvSpPr>
          <p:spPr bwMode="auto">
            <a:xfrm>
              <a:off x="3646572" y="1926679"/>
              <a:ext cx="207888" cy="157938"/>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solidFill>
              <a:srgbClr val="00B0F0"/>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74" name="Freeform 5"/>
            <p:cNvSpPr>
              <a:spLocks noChangeAspect="1" noEditPoints="1"/>
            </p:cNvSpPr>
            <p:nvPr/>
          </p:nvSpPr>
          <p:spPr bwMode="auto">
            <a:xfrm>
              <a:off x="3940609" y="941151"/>
              <a:ext cx="207888" cy="157938"/>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solidFill>
              <a:srgbClr val="00B0F0"/>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75" name="Freeform 5"/>
            <p:cNvSpPr>
              <a:spLocks noChangeAspect="1" noEditPoints="1"/>
            </p:cNvSpPr>
            <p:nvPr/>
          </p:nvSpPr>
          <p:spPr bwMode="auto">
            <a:xfrm>
              <a:off x="4303831" y="1613331"/>
              <a:ext cx="207888" cy="157938"/>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solidFill>
              <a:srgbClr val="00B0F0"/>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76" name="Freeform 5"/>
            <p:cNvSpPr>
              <a:spLocks noChangeAspect="1" noEditPoints="1"/>
            </p:cNvSpPr>
            <p:nvPr/>
          </p:nvSpPr>
          <p:spPr bwMode="auto">
            <a:xfrm>
              <a:off x="3813769" y="1224174"/>
              <a:ext cx="207888" cy="157938"/>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solidFill>
              <a:srgbClr val="00B0F0"/>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77" name="Freeform 5"/>
            <p:cNvSpPr>
              <a:spLocks noChangeAspect="1" noEditPoints="1"/>
            </p:cNvSpPr>
            <p:nvPr/>
          </p:nvSpPr>
          <p:spPr bwMode="auto">
            <a:xfrm>
              <a:off x="2643388" y="1704302"/>
              <a:ext cx="207888" cy="157938"/>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solidFill>
              <a:srgbClr val="00B0F0"/>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78" name="Freeform 5"/>
            <p:cNvSpPr>
              <a:spLocks noChangeAspect="1" noEditPoints="1"/>
            </p:cNvSpPr>
            <p:nvPr/>
          </p:nvSpPr>
          <p:spPr bwMode="auto">
            <a:xfrm>
              <a:off x="2729869" y="1042230"/>
              <a:ext cx="207888" cy="157938"/>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solidFill>
              <a:srgbClr val="00B0F0"/>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grpSp>
          <p:nvGrpSpPr>
            <p:cNvPr id="79" name="组合 569"/>
            <p:cNvGrpSpPr>
              <a:grpSpLocks noChangeAspect="1"/>
            </p:cNvGrpSpPr>
            <p:nvPr/>
          </p:nvGrpSpPr>
          <p:grpSpPr>
            <a:xfrm>
              <a:off x="3045957" y="1279167"/>
              <a:ext cx="193159" cy="119535"/>
              <a:chOff x="4848373" y="4886982"/>
              <a:chExt cx="753819" cy="561193"/>
            </a:xfrm>
            <a:solidFill>
              <a:srgbClr val="1F497D">
                <a:lumMod val="60000"/>
                <a:lumOff val="40000"/>
              </a:srgbClr>
            </a:solidFill>
          </p:grpSpPr>
          <p:sp>
            <p:nvSpPr>
              <p:cNvPr id="107" name="Freeform 11"/>
              <p:cNvSpPr>
                <a:spLocks/>
              </p:cNvSpPr>
              <p:nvPr/>
            </p:nvSpPr>
            <p:spPr bwMode="auto">
              <a:xfrm>
                <a:off x="5503604" y="5008321"/>
                <a:ext cx="69012" cy="91762"/>
              </a:xfrm>
              <a:custGeom>
                <a:avLst/>
                <a:gdLst/>
                <a:ahLst/>
                <a:cxnLst>
                  <a:cxn ang="0">
                    <a:pos x="793" y="8"/>
                  </a:cxn>
                  <a:cxn ang="0">
                    <a:pos x="831" y="1"/>
                  </a:cxn>
                  <a:cxn ang="0">
                    <a:pos x="869" y="1"/>
                  </a:cxn>
                  <a:cxn ang="0">
                    <a:pos x="907" y="8"/>
                  </a:cxn>
                  <a:cxn ang="0">
                    <a:pos x="942" y="22"/>
                  </a:cxn>
                  <a:cxn ang="0">
                    <a:pos x="973" y="43"/>
                  </a:cxn>
                  <a:cxn ang="0">
                    <a:pos x="1000" y="70"/>
                  </a:cxn>
                  <a:cxn ang="0">
                    <a:pos x="1022" y="102"/>
                  </a:cxn>
                  <a:cxn ang="0">
                    <a:pos x="1037" y="138"/>
                  </a:cxn>
                  <a:cxn ang="0">
                    <a:pos x="1457" y="1499"/>
                  </a:cxn>
                  <a:cxn ang="0">
                    <a:pos x="1461" y="1538"/>
                  </a:cxn>
                  <a:cxn ang="0">
                    <a:pos x="1457" y="1575"/>
                  </a:cxn>
                  <a:cxn ang="0">
                    <a:pos x="1446" y="1612"/>
                  </a:cxn>
                  <a:cxn ang="0">
                    <a:pos x="1428" y="1646"/>
                  </a:cxn>
                  <a:cxn ang="0">
                    <a:pos x="1405" y="1674"/>
                  </a:cxn>
                  <a:cxn ang="0">
                    <a:pos x="1376" y="1700"/>
                  </a:cxn>
                  <a:cxn ang="0">
                    <a:pos x="1341" y="1718"/>
                  </a:cxn>
                  <a:cxn ang="0">
                    <a:pos x="668" y="1927"/>
                  </a:cxn>
                  <a:cxn ang="0">
                    <a:pos x="628" y="1936"/>
                  </a:cxn>
                  <a:cxn ang="0">
                    <a:pos x="590" y="1936"/>
                  </a:cxn>
                  <a:cxn ang="0">
                    <a:pos x="553" y="1928"/>
                  </a:cxn>
                  <a:cxn ang="0">
                    <a:pos x="518" y="1913"/>
                  </a:cxn>
                  <a:cxn ang="0">
                    <a:pos x="487" y="1893"/>
                  </a:cxn>
                  <a:cxn ang="0">
                    <a:pos x="459" y="1866"/>
                  </a:cxn>
                  <a:cxn ang="0">
                    <a:pos x="438" y="1835"/>
                  </a:cxn>
                  <a:cxn ang="0">
                    <a:pos x="422" y="1797"/>
                  </a:cxn>
                  <a:cxn ang="0">
                    <a:pos x="3" y="436"/>
                  </a:cxn>
                  <a:cxn ang="0">
                    <a:pos x="0" y="398"/>
                  </a:cxn>
                  <a:cxn ang="0">
                    <a:pos x="3" y="360"/>
                  </a:cxn>
                  <a:cxn ang="0">
                    <a:pos x="14" y="324"/>
                  </a:cxn>
                  <a:cxn ang="0">
                    <a:pos x="31" y="291"/>
                  </a:cxn>
                  <a:cxn ang="0">
                    <a:pos x="55" y="261"/>
                  </a:cxn>
                  <a:cxn ang="0">
                    <a:pos x="85" y="237"/>
                  </a:cxn>
                  <a:cxn ang="0">
                    <a:pos x="119" y="218"/>
                  </a:cxn>
                </a:cxnLst>
                <a:rect l="0" t="0" r="r" b="b"/>
                <a:pathLst>
                  <a:path w="1461" h="1937">
                    <a:moveTo>
                      <a:pt x="138" y="211"/>
                    </a:moveTo>
                    <a:lnTo>
                      <a:pt x="793" y="8"/>
                    </a:lnTo>
                    <a:lnTo>
                      <a:pt x="812" y="4"/>
                    </a:lnTo>
                    <a:lnTo>
                      <a:pt x="831" y="1"/>
                    </a:lnTo>
                    <a:lnTo>
                      <a:pt x="850" y="0"/>
                    </a:lnTo>
                    <a:lnTo>
                      <a:pt x="869" y="1"/>
                    </a:lnTo>
                    <a:lnTo>
                      <a:pt x="889" y="4"/>
                    </a:lnTo>
                    <a:lnTo>
                      <a:pt x="907" y="8"/>
                    </a:lnTo>
                    <a:lnTo>
                      <a:pt x="925" y="15"/>
                    </a:lnTo>
                    <a:lnTo>
                      <a:pt x="942" y="22"/>
                    </a:lnTo>
                    <a:lnTo>
                      <a:pt x="958" y="32"/>
                    </a:lnTo>
                    <a:lnTo>
                      <a:pt x="973" y="43"/>
                    </a:lnTo>
                    <a:lnTo>
                      <a:pt x="987" y="56"/>
                    </a:lnTo>
                    <a:lnTo>
                      <a:pt x="1000" y="70"/>
                    </a:lnTo>
                    <a:lnTo>
                      <a:pt x="1012" y="85"/>
                    </a:lnTo>
                    <a:lnTo>
                      <a:pt x="1022" y="102"/>
                    </a:lnTo>
                    <a:lnTo>
                      <a:pt x="1031" y="119"/>
                    </a:lnTo>
                    <a:lnTo>
                      <a:pt x="1037" y="138"/>
                    </a:lnTo>
                    <a:lnTo>
                      <a:pt x="1452" y="1480"/>
                    </a:lnTo>
                    <a:lnTo>
                      <a:pt x="1457" y="1499"/>
                    </a:lnTo>
                    <a:lnTo>
                      <a:pt x="1460" y="1519"/>
                    </a:lnTo>
                    <a:lnTo>
                      <a:pt x="1461" y="1538"/>
                    </a:lnTo>
                    <a:lnTo>
                      <a:pt x="1460" y="1557"/>
                    </a:lnTo>
                    <a:lnTo>
                      <a:pt x="1457" y="1575"/>
                    </a:lnTo>
                    <a:lnTo>
                      <a:pt x="1452" y="1595"/>
                    </a:lnTo>
                    <a:lnTo>
                      <a:pt x="1446" y="1612"/>
                    </a:lnTo>
                    <a:lnTo>
                      <a:pt x="1438" y="1629"/>
                    </a:lnTo>
                    <a:lnTo>
                      <a:pt x="1428" y="1646"/>
                    </a:lnTo>
                    <a:lnTo>
                      <a:pt x="1417" y="1660"/>
                    </a:lnTo>
                    <a:lnTo>
                      <a:pt x="1405" y="1674"/>
                    </a:lnTo>
                    <a:lnTo>
                      <a:pt x="1391" y="1688"/>
                    </a:lnTo>
                    <a:lnTo>
                      <a:pt x="1376" y="1700"/>
                    </a:lnTo>
                    <a:lnTo>
                      <a:pt x="1359" y="1709"/>
                    </a:lnTo>
                    <a:lnTo>
                      <a:pt x="1341" y="1718"/>
                    </a:lnTo>
                    <a:lnTo>
                      <a:pt x="1323" y="1725"/>
                    </a:lnTo>
                    <a:lnTo>
                      <a:pt x="668" y="1927"/>
                    </a:lnTo>
                    <a:lnTo>
                      <a:pt x="649" y="1932"/>
                    </a:lnTo>
                    <a:lnTo>
                      <a:pt x="628" y="1936"/>
                    </a:lnTo>
                    <a:lnTo>
                      <a:pt x="609" y="1937"/>
                    </a:lnTo>
                    <a:lnTo>
                      <a:pt x="590" y="1936"/>
                    </a:lnTo>
                    <a:lnTo>
                      <a:pt x="571" y="1932"/>
                    </a:lnTo>
                    <a:lnTo>
                      <a:pt x="553" y="1928"/>
                    </a:lnTo>
                    <a:lnTo>
                      <a:pt x="535" y="1922"/>
                    </a:lnTo>
                    <a:lnTo>
                      <a:pt x="518" y="1913"/>
                    </a:lnTo>
                    <a:lnTo>
                      <a:pt x="502" y="1904"/>
                    </a:lnTo>
                    <a:lnTo>
                      <a:pt x="487" y="1893"/>
                    </a:lnTo>
                    <a:lnTo>
                      <a:pt x="472" y="1880"/>
                    </a:lnTo>
                    <a:lnTo>
                      <a:pt x="459" y="1866"/>
                    </a:lnTo>
                    <a:lnTo>
                      <a:pt x="448" y="1851"/>
                    </a:lnTo>
                    <a:lnTo>
                      <a:pt x="438" y="1835"/>
                    </a:lnTo>
                    <a:lnTo>
                      <a:pt x="430" y="1817"/>
                    </a:lnTo>
                    <a:lnTo>
                      <a:pt x="422" y="1797"/>
                    </a:lnTo>
                    <a:lnTo>
                      <a:pt x="8" y="456"/>
                    </a:lnTo>
                    <a:lnTo>
                      <a:pt x="3" y="436"/>
                    </a:lnTo>
                    <a:lnTo>
                      <a:pt x="1" y="417"/>
                    </a:lnTo>
                    <a:lnTo>
                      <a:pt x="0" y="398"/>
                    </a:lnTo>
                    <a:lnTo>
                      <a:pt x="1" y="379"/>
                    </a:lnTo>
                    <a:lnTo>
                      <a:pt x="3" y="360"/>
                    </a:lnTo>
                    <a:lnTo>
                      <a:pt x="8" y="342"/>
                    </a:lnTo>
                    <a:lnTo>
                      <a:pt x="14" y="324"/>
                    </a:lnTo>
                    <a:lnTo>
                      <a:pt x="22" y="307"/>
                    </a:lnTo>
                    <a:lnTo>
                      <a:pt x="31" y="291"/>
                    </a:lnTo>
                    <a:lnTo>
                      <a:pt x="43" y="275"/>
                    </a:lnTo>
                    <a:lnTo>
                      <a:pt x="55" y="261"/>
                    </a:lnTo>
                    <a:lnTo>
                      <a:pt x="70" y="248"/>
                    </a:lnTo>
                    <a:lnTo>
                      <a:pt x="85" y="237"/>
                    </a:lnTo>
                    <a:lnTo>
                      <a:pt x="102" y="226"/>
                    </a:lnTo>
                    <a:lnTo>
                      <a:pt x="119" y="218"/>
                    </a:lnTo>
                    <a:lnTo>
                      <a:pt x="138" y="2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108" name="Freeform 12"/>
              <p:cNvSpPr>
                <a:spLocks/>
              </p:cNvSpPr>
              <p:nvPr/>
            </p:nvSpPr>
            <p:spPr bwMode="auto">
              <a:xfrm>
                <a:off x="4877949" y="5008321"/>
                <a:ext cx="69770" cy="91762"/>
              </a:xfrm>
              <a:custGeom>
                <a:avLst/>
                <a:gdLst/>
                <a:ahLst/>
                <a:cxnLst>
                  <a:cxn ang="0">
                    <a:pos x="668" y="8"/>
                  </a:cxn>
                  <a:cxn ang="0">
                    <a:pos x="629" y="1"/>
                  </a:cxn>
                  <a:cxn ang="0">
                    <a:pos x="591" y="1"/>
                  </a:cxn>
                  <a:cxn ang="0">
                    <a:pos x="554" y="8"/>
                  </a:cxn>
                  <a:cxn ang="0">
                    <a:pos x="519" y="22"/>
                  </a:cxn>
                  <a:cxn ang="0">
                    <a:pos x="487" y="43"/>
                  </a:cxn>
                  <a:cxn ang="0">
                    <a:pos x="461" y="70"/>
                  </a:cxn>
                  <a:cxn ang="0">
                    <a:pos x="438" y="102"/>
                  </a:cxn>
                  <a:cxn ang="0">
                    <a:pos x="423" y="138"/>
                  </a:cxn>
                  <a:cxn ang="0">
                    <a:pos x="4" y="1499"/>
                  </a:cxn>
                  <a:cxn ang="0">
                    <a:pos x="0" y="1538"/>
                  </a:cxn>
                  <a:cxn ang="0">
                    <a:pos x="4" y="1575"/>
                  </a:cxn>
                  <a:cxn ang="0">
                    <a:pos x="15" y="1612"/>
                  </a:cxn>
                  <a:cxn ang="0">
                    <a:pos x="33" y="1646"/>
                  </a:cxn>
                  <a:cxn ang="0">
                    <a:pos x="56" y="1674"/>
                  </a:cxn>
                  <a:cxn ang="0">
                    <a:pos x="85" y="1700"/>
                  </a:cxn>
                  <a:cxn ang="0">
                    <a:pos x="120" y="1718"/>
                  </a:cxn>
                  <a:cxn ang="0">
                    <a:pos x="793" y="1927"/>
                  </a:cxn>
                  <a:cxn ang="0">
                    <a:pos x="832" y="1936"/>
                  </a:cxn>
                  <a:cxn ang="0">
                    <a:pos x="870" y="1936"/>
                  </a:cxn>
                  <a:cxn ang="0">
                    <a:pos x="908" y="1928"/>
                  </a:cxn>
                  <a:cxn ang="0">
                    <a:pos x="943" y="1913"/>
                  </a:cxn>
                  <a:cxn ang="0">
                    <a:pos x="973" y="1893"/>
                  </a:cxn>
                  <a:cxn ang="0">
                    <a:pos x="1001" y="1866"/>
                  </a:cxn>
                  <a:cxn ang="0">
                    <a:pos x="1022" y="1835"/>
                  </a:cxn>
                  <a:cxn ang="0">
                    <a:pos x="1038" y="1797"/>
                  </a:cxn>
                  <a:cxn ang="0">
                    <a:pos x="1458" y="436"/>
                  </a:cxn>
                  <a:cxn ang="0">
                    <a:pos x="1461" y="398"/>
                  </a:cxn>
                  <a:cxn ang="0">
                    <a:pos x="1458" y="360"/>
                  </a:cxn>
                  <a:cxn ang="0">
                    <a:pos x="1446" y="324"/>
                  </a:cxn>
                  <a:cxn ang="0">
                    <a:pos x="1429" y="291"/>
                  </a:cxn>
                  <a:cxn ang="0">
                    <a:pos x="1405" y="261"/>
                  </a:cxn>
                  <a:cxn ang="0">
                    <a:pos x="1376" y="237"/>
                  </a:cxn>
                  <a:cxn ang="0">
                    <a:pos x="1342" y="218"/>
                  </a:cxn>
                </a:cxnLst>
                <a:rect l="0" t="0" r="r" b="b"/>
                <a:pathLst>
                  <a:path w="1461" h="1937">
                    <a:moveTo>
                      <a:pt x="1323" y="211"/>
                    </a:moveTo>
                    <a:lnTo>
                      <a:pt x="668" y="8"/>
                    </a:lnTo>
                    <a:lnTo>
                      <a:pt x="649" y="4"/>
                    </a:lnTo>
                    <a:lnTo>
                      <a:pt x="629" y="1"/>
                    </a:lnTo>
                    <a:lnTo>
                      <a:pt x="610" y="0"/>
                    </a:lnTo>
                    <a:lnTo>
                      <a:pt x="591" y="1"/>
                    </a:lnTo>
                    <a:lnTo>
                      <a:pt x="572" y="4"/>
                    </a:lnTo>
                    <a:lnTo>
                      <a:pt x="554" y="8"/>
                    </a:lnTo>
                    <a:lnTo>
                      <a:pt x="536" y="15"/>
                    </a:lnTo>
                    <a:lnTo>
                      <a:pt x="519" y="22"/>
                    </a:lnTo>
                    <a:lnTo>
                      <a:pt x="503" y="32"/>
                    </a:lnTo>
                    <a:lnTo>
                      <a:pt x="487" y="43"/>
                    </a:lnTo>
                    <a:lnTo>
                      <a:pt x="473" y="56"/>
                    </a:lnTo>
                    <a:lnTo>
                      <a:pt x="461" y="70"/>
                    </a:lnTo>
                    <a:lnTo>
                      <a:pt x="449" y="85"/>
                    </a:lnTo>
                    <a:lnTo>
                      <a:pt x="438" y="102"/>
                    </a:lnTo>
                    <a:lnTo>
                      <a:pt x="430" y="119"/>
                    </a:lnTo>
                    <a:lnTo>
                      <a:pt x="423" y="138"/>
                    </a:lnTo>
                    <a:lnTo>
                      <a:pt x="8" y="1480"/>
                    </a:lnTo>
                    <a:lnTo>
                      <a:pt x="4" y="1499"/>
                    </a:lnTo>
                    <a:lnTo>
                      <a:pt x="1" y="1519"/>
                    </a:lnTo>
                    <a:lnTo>
                      <a:pt x="0" y="1538"/>
                    </a:lnTo>
                    <a:lnTo>
                      <a:pt x="1" y="1557"/>
                    </a:lnTo>
                    <a:lnTo>
                      <a:pt x="4" y="1575"/>
                    </a:lnTo>
                    <a:lnTo>
                      <a:pt x="8" y="1595"/>
                    </a:lnTo>
                    <a:lnTo>
                      <a:pt x="15" y="1612"/>
                    </a:lnTo>
                    <a:lnTo>
                      <a:pt x="23" y="1629"/>
                    </a:lnTo>
                    <a:lnTo>
                      <a:pt x="33" y="1646"/>
                    </a:lnTo>
                    <a:lnTo>
                      <a:pt x="43" y="1660"/>
                    </a:lnTo>
                    <a:lnTo>
                      <a:pt x="56" y="1674"/>
                    </a:lnTo>
                    <a:lnTo>
                      <a:pt x="70" y="1688"/>
                    </a:lnTo>
                    <a:lnTo>
                      <a:pt x="85" y="1700"/>
                    </a:lnTo>
                    <a:lnTo>
                      <a:pt x="102" y="1709"/>
                    </a:lnTo>
                    <a:lnTo>
                      <a:pt x="120" y="1718"/>
                    </a:lnTo>
                    <a:lnTo>
                      <a:pt x="138" y="1725"/>
                    </a:lnTo>
                    <a:lnTo>
                      <a:pt x="793" y="1927"/>
                    </a:lnTo>
                    <a:lnTo>
                      <a:pt x="812" y="1932"/>
                    </a:lnTo>
                    <a:lnTo>
                      <a:pt x="832" y="1936"/>
                    </a:lnTo>
                    <a:lnTo>
                      <a:pt x="851" y="1937"/>
                    </a:lnTo>
                    <a:lnTo>
                      <a:pt x="870" y="1936"/>
                    </a:lnTo>
                    <a:lnTo>
                      <a:pt x="890" y="1932"/>
                    </a:lnTo>
                    <a:lnTo>
                      <a:pt x="908" y="1928"/>
                    </a:lnTo>
                    <a:lnTo>
                      <a:pt x="926" y="1922"/>
                    </a:lnTo>
                    <a:lnTo>
                      <a:pt x="943" y="1913"/>
                    </a:lnTo>
                    <a:lnTo>
                      <a:pt x="959" y="1904"/>
                    </a:lnTo>
                    <a:lnTo>
                      <a:pt x="973" y="1893"/>
                    </a:lnTo>
                    <a:lnTo>
                      <a:pt x="987" y="1880"/>
                    </a:lnTo>
                    <a:lnTo>
                      <a:pt x="1001" y="1866"/>
                    </a:lnTo>
                    <a:lnTo>
                      <a:pt x="1013" y="1851"/>
                    </a:lnTo>
                    <a:lnTo>
                      <a:pt x="1022" y="1835"/>
                    </a:lnTo>
                    <a:lnTo>
                      <a:pt x="1031" y="1817"/>
                    </a:lnTo>
                    <a:lnTo>
                      <a:pt x="1038" y="1797"/>
                    </a:lnTo>
                    <a:lnTo>
                      <a:pt x="1452" y="456"/>
                    </a:lnTo>
                    <a:lnTo>
                      <a:pt x="1458" y="436"/>
                    </a:lnTo>
                    <a:lnTo>
                      <a:pt x="1460" y="417"/>
                    </a:lnTo>
                    <a:lnTo>
                      <a:pt x="1461" y="398"/>
                    </a:lnTo>
                    <a:lnTo>
                      <a:pt x="1460" y="379"/>
                    </a:lnTo>
                    <a:lnTo>
                      <a:pt x="1458" y="360"/>
                    </a:lnTo>
                    <a:lnTo>
                      <a:pt x="1452" y="342"/>
                    </a:lnTo>
                    <a:lnTo>
                      <a:pt x="1446" y="324"/>
                    </a:lnTo>
                    <a:lnTo>
                      <a:pt x="1439" y="307"/>
                    </a:lnTo>
                    <a:lnTo>
                      <a:pt x="1429" y="291"/>
                    </a:lnTo>
                    <a:lnTo>
                      <a:pt x="1417" y="275"/>
                    </a:lnTo>
                    <a:lnTo>
                      <a:pt x="1405" y="261"/>
                    </a:lnTo>
                    <a:lnTo>
                      <a:pt x="1391" y="248"/>
                    </a:lnTo>
                    <a:lnTo>
                      <a:pt x="1376" y="237"/>
                    </a:lnTo>
                    <a:lnTo>
                      <a:pt x="1360" y="226"/>
                    </a:lnTo>
                    <a:lnTo>
                      <a:pt x="1342" y="218"/>
                    </a:lnTo>
                    <a:lnTo>
                      <a:pt x="1323" y="2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109" name="Freeform 13"/>
              <p:cNvSpPr>
                <a:spLocks noEditPoints="1"/>
              </p:cNvSpPr>
              <p:nvPr/>
            </p:nvSpPr>
            <p:spPr bwMode="auto">
              <a:xfrm>
                <a:off x="4848373" y="4886982"/>
                <a:ext cx="753819" cy="478530"/>
              </a:xfrm>
              <a:custGeom>
                <a:avLst/>
                <a:gdLst/>
                <a:ahLst/>
                <a:cxnLst>
                  <a:cxn ang="0">
                    <a:pos x="2975" y="306"/>
                  </a:cxn>
                  <a:cxn ang="0">
                    <a:pos x="3001" y="224"/>
                  </a:cxn>
                  <a:cxn ang="0">
                    <a:pos x="3041" y="151"/>
                  </a:cxn>
                  <a:cxn ang="0">
                    <a:pos x="3090" y="90"/>
                  </a:cxn>
                  <a:cxn ang="0">
                    <a:pos x="3152" y="42"/>
                  </a:cxn>
                  <a:cxn ang="0">
                    <a:pos x="3224" y="11"/>
                  </a:cxn>
                  <a:cxn ang="0">
                    <a:pos x="3306" y="0"/>
                  </a:cxn>
                  <a:cxn ang="0">
                    <a:pos x="12152" y="7"/>
                  </a:cxn>
                  <a:cxn ang="0">
                    <a:pos x="12224" y="35"/>
                  </a:cxn>
                  <a:cxn ang="0">
                    <a:pos x="12285" y="80"/>
                  </a:cxn>
                  <a:cxn ang="0">
                    <a:pos x="12335" y="140"/>
                  </a:cxn>
                  <a:cxn ang="0">
                    <a:pos x="12403" y="274"/>
                  </a:cxn>
                  <a:cxn ang="0">
                    <a:pos x="15584" y="5262"/>
                  </a:cxn>
                  <a:cxn ang="0">
                    <a:pos x="15667" y="5277"/>
                  </a:cxn>
                  <a:cxn ang="0">
                    <a:pos x="15742" y="5311"/>
                  </a:cxn>
                  <a:cxn ang="0">
                    <a:pos x="15806" y="5360"/>
                  </a:cxn>
                  <a:cxn ang="0">
                    <a:pos x="15856" y="5425"/>
                  </a:cxn>
                  <a:cxn ang="0">
                    <a:pos x="15890" y="5500"/>
                  </a:cxn>
                  <a:cxn ang="0">
                    <a:pos x="15905" y="5584"/>
                  </a:cxn>
                  <a:cxn ang="0">
                    <a:pos x="15901" y="8622"/>
                  </a:cxn>
                  <a:cxn ang="0">
                    <a:pos x="15879" y="8703"/>
                  </a:cxn>
                  <a:cxn ang="0">
                    <a:pos x="15838" y="8774"/>
                  </a:cxn>
                  <a:cxn ang="0">
                    <a:pos x="15781" y="8832"/>
                  </a:cxn>
                  <a:cxn ang="0">
                    <a:pos x="15713" y="8877"/>
                  </a:cxn>
                  <a:cxn ang="0">
                    <a:pos x="15635" y="8904"/>
                  </a:cxn>
                  <a:cxn ang="0">
                    <a:pos x="10285" y="8910"/>
                  </a:cxn>
                  <a:cxn ang="0">
                    <a:pos x="322" y="8910"/>
                  </a:cxn>
                  <a:cxn ang="0">
                    <a:pos x="239" y="8895"/>
                  </a:cxn>
                  <a:cxn ang="0">
                    <a:pos x="164" y="8861"/>
                  </a:cxn>
                  <a:cxn ang="0">
                    <a:pos x="100" y="8810"/>
                  </a:cxn>
                  <a:cxn ang="0">
                    <a:pos x="49" y="8746"/>
                  </a:cxn>
                  <a:cxn ang="0">
                    <a:pos x="15" y="8672"/>
                  </a:cxn>
                  <a:cxn ang="0">
                    <a:pos x="0" y="8588"/>
                  </a:cxn>
                  <a:cxn ang="0">
                    <a:pos x="4" y="5550"/>
                  </a:cxn>
                  <a:cxn ang="0">
                    <a:pos x="27" y="5469"/>
                  </a:cxn>
                  <a:cxn ang="0">
                    <a:pos x="68" y="5398"/>
                  </a:cxn>
                  <a:cxn ang="0">
                    <a:pos x="124" y="5339"/>
                  </a:cxn>
                  <a:cxn ang="0">
                    <a:pos x="192" y="5295"/>
                  </a:cxn>
                  <a:cxn ang="0">
                    <a:pos x="271" y="5268"/>
                  </a:cxn>
                  <a:cxn ang="0">
                    <a:pos x="4317" y="1018"/>
                  </a:cxn>
                  <a:cxn ang="0">
                    <a:pos x="11304" y="1023"/>
                  </a:cxn>
                  <a:cxn ang="0">
                    <a:pos x="11358" y="1045"/>
                  </a:cxn>
                  <a:cxn ang="0">
                    <a:pos x="11426" y="1116"/>
                  </a:cxn>
                  <a:cxn ang="0">
                    <a:pos x="11471" y="1213"/>
                  </a:cxn>
                  <a:cxn ang="0">
                    <a:pos x="12401" y="4398"/>
                  </a:cxn>
                  <a:cxn ang="0">
                    <a:pos x="12392" y="4448"/>
                  </a:cxn>
                  <a:cxn ang="0">
                    <a:pos x="12366" y="4494"/>
                  </a:cxn>
                  <a:cxn ang="0">
                    <a:pos x="12309" y="4543"/>
                  </a:cxn>
                  <a:cxn ang="0">
                    <a:pos x="12213" y="4580"/>
                  </a:cxn>
                  <a:cxn ang="0">
                    <a:pos x="3713" y="4582"/>
                  </a:cxn>
                  <a:cxn ang="0">
                    <a:pos x="3658" y="4572"/>
                  </a:cxn>
                  <a:cxn ang="0">
                    <a:pos x="3588" y="4539"/>
                  </a:cxn>
                  <a:cxn ang="0">
                    <a:pos x="3548" y="4503"/>
                  </a:cxn>
                  <a:cxn ang="0">
                    <a:pos x="3519" y="4458"/>
                  </a:cxn>
                  <a:cxn ang="0">
                    <a:pos x="3506" y="4410"/>
                  </a:cxn>
                  <a:cxn ang="0">
                    <a:pos x="4101" y="1234"/>
                  </a:cxn>
                  <a:cxn ang="0">
                    <a:pos x="4138" y="1132"/>
                  </a:cxn>
                  <a:cxn ang="0">
                    <a:pos x="4202" y="1056"/>
                  </a:cxn>
                  <a:cxn ang="0">
                    <a:pos x="4265" y="1025"/>
                  </a:cxn>
                  <a:cxn ang="0">
                    <a:pos x="4317" y="1018"/>
                  </a:cxn>
                  <a:cxn ang="0">
                    <a:pos x="1336" y="7722"/>
                  </a:cxn>
                  <a:cxn ang="0">
                    <a:pos x="11346" y="7722"/>
                  </a:cxn>
                </a:cxnLst>
                <a:rect l="0" t="0" r="r" b="b"/>
                <a:pathLst>
                  <a:path w="15906" h="10098">
                    <a:moveTo>
                      <a:pt x="339" y="5262"/>
                    </a:moveTo>
                    <a:lnTo>
                      <a:pt x="2034" y="5262"/>
                    </a:lnTo>
                    <a:lnTo>
                      <a:pt x="2967" y="340"/>
                    </a:lnTo>
                    <a:lnTo>
                      <a:pt x="2970" y="323"/>
                    </a:lnTo>
                    <a:lnTo>
                      <a:pt x="2975" y="306"/>
                    </a:lnTo>
                    <a:lnTo>
                      <a:pt x="2979" y="289"/>
                    </a:lnTo>
                    <a:lnTo>
                      <a:pt x="2984" y="272"/>
                    </a:lnTo>
                    <a:lnTo>
                      <a:pt x="2990" y="256"/>
                    </a:lnTo>
                    <a:lnTo>
                      <a:pt x="2995" y="240"/>
                    </a:lnTo>
                    <a:lnTo>
                      <a:pt x="3001" y="224"/>
                    </a:lnTo>
                    <a:lnTo>
                      <a:pt x="3009" y="209"/>
                    </a:lnTo>
                    <a:lnTo>
                      <a:pt x="3016" y="194"/>
                    </a:lnTo>
                    <a:lnTo>
                      <a:pt x="3024" y="179"/>
                    </a:lnTo>
                    <a:lnTo>
                      <a:pt x="3032" y="165"/>
                    </a:lnTo>
                    <a:lnTo>
                      <a:pt x="3041" y="151"/>
                    </a:lnTo>
                    <a:lnTo>
                      <a:pt x="3050" y="138"/>
                    </a:lnTo>
                    <a:lnTo>
                      <a:pt x="3060" y="125"/>
                    </a:lnTo>
                    <a:lnTo>
                      <a:pt x="3069" y="112"/>
                    </a:lnTo>
                    <a:lnTo>
                      <a:pt x="3080" y="100"/>
                    </a:lnTo>
                    <a:lnTo>
                      <a:pt x="3090" y="90"/>
                    </a:lnTo>
                    <a:lnTo>
                      <a:pt x="3102" y="78"/>
                    </a:lnTo>
                    <a:lnTo>
                      <a:pt x="3114" y="69"/>
                    </a:lnTo>
                    <a:lnTo>
                      <a:pt x="3127" y="59"/>
                    </a:lnTo>
                    <a:lnTo>
                      <a:pt x="3138" y="49"/>
                    </a:lnTo>
                    <a:lnTo>
                      <a:pt x="3152" y="42"/>
                    </a:lnTo>
                    <a:lnTo>
                      <a:pt x="3166" y="34"/>
                    </a:lnTo>
                    <a:lnTo>
                      <a:pt x="3180" y="27"/>
                    </a:lnTo>
                    <a:lnTo>
                      <a:pt x="3193" y="21"/>
                    </a:lnTo>
                    <a:lnTo>
                      <a:pt x="3208" y="15"/>
                    </a:lnTo>
                    <a:lnTo>
                      <a:pt x="3224" y="11"/>
                    </a:lnTo>
                    <a:lnTo>
                      <a:pt x="3239" y="7"/>
                    </a:lnTo>
                    <a:lnTo>
                      <a:pt x="3256" y="4"/>
                    </a:lnTo>
                    <a:lnTo>
                      <a:pt x="3272" y="2"/>
                    </a:lnTo>
                    <a:lnTo>
                      <a:pt x="3289" y="1"/>
                    </a:lnTo>
                    <a:lnTo>
                      <a:pt x="3306" y="0"/>
                    </a:lnTo>
                    <a:lnTo>
                      <a:pt x="12087" y="0"/>
                    </a:lnTo>
                    <a:lnTo>
                      <a:pt x="12104" y="1"/>
                    </a:lnTo>
                    <a:lnTo>
                      <a:pt x="12121" y="2"/>
                    </a:lnTo>
                    <a:lnTo>
                      <a:pt x="12137" y="4"/>
                    </a:lnTo>
                    <a:lnTo>
                      <a:pt x="12152" y="7"/>
                    </a:lnTo>
                    <a:lnTo>
                      <a:pt x="12167" y="11"/>
                    </a:lnTo>
                    <a:lnTo>
                      <a:pt x="12182" y="15"/>
                    </a:lnTo>
                    <a:lnTo>
                      <a:pt x="12197" y="22"/>
                    </a:lnTo>
                    <a:lnTo>
                      <a:pt x="12211" y="28"/>
                    </a:lnTo>
                    <a:lnTo>
                      <a:pt x="12224" y="35"/>
                    </a:lnTo>
                    <a:lnTo>
                      <a:pt x="12237" y="43"/>
                    </a:lnTo>
                    <a:lnTo>
                      <a:pt x="12249" y="52"/>
                    </a:lnTo>
                    <a:lnTo>
                      <a:pt x="12262" y="60"/>
                    </a:lnTo>
                    <a:lnTo>
                      <a:pt x="12274" y="70"/>
                    </a:lnTo>
                    <a:lnTo>
                      <a:pt x="12285" y="80"/>
                    </a:lnTo>
                    <a:lnTo>
                      <a:pt x="12296" y="91"/>
                    </a:lnTo>
                    <a:lnTo>
                      <a:pt x="12306" y="103"/>
                    </a:lnTo>
                    <a:lnTo>
                      <a:pt x="12316" y="114"/>
                    </a:lnTo>
                    <a:lnTo>
                      <a:pt x="12326" y="127"/>
                    </a:lnTo>
                    <a:lnTo>
                      <a:pt x="12335" y="140"/>
                    </a:lnTo>
                    <a:lnTo>
                      <a:pt x="12345" y="154"/>
                    </a:lnTo>
                    <a:lnTo>
                      <a:pt x="12362" y="181"/>
                    </a:lnTo>
                    <a:lnTo>
                      <a:pt x="12377" y="211"/>
                    </a:lnTo>
                    <a:lnTo>
                      <a:pt x="12390" y="242"/>
                    </a:lnTo>
                    <a:lnTo>
                      <a:pt x="12403" y="274"/>
                    </a:lnTo>
                    <a:lnTo>
                      <a:pt x="12415" y="306"/>
                    </a:lnTo>
                    <a:lnTo>
                      <a:pt x="12425" y="340"/>
                    </a:lnTo>
                    <a:lnTo>
                      <a:pt x="13868" y="5262"/>
                    </a:lnTo>
                    <a:lnTo>
                      <a:pt x="15566" y="5262"/>
                    </a:lnTo>
                    <a:lnTo>
                      <a:pt x="15584" y="5262"/>
                    </a:lnTo>
                    <a:lnTo>
                      <a:pt x="15601" y="5263"/>
                    </a:lnTo>
                    <a:lnTo>
                      <a:pt x="15618" y="5265"/>
                    </a:lnTo>
                    <a:lnTo>
                      <a:pt x="15635" y="5268"/>
                    </a:lnTo>
                    <a:lnTo>
                      <a:pt x="15651" y="5272"/>
                    </a:lnTo>
                    <a:lnTo>
                      <a:pt x="15667" y="5277"/>
                    </a:lnTo>
                    <a:lnTo>
                      <a:pt x="15683" y="5282"/>
                    </a:lnTo>
                    <a:lnTo>
                      <a:pt x="15697" y="5288"/>
                    </a:lnTo>
                    <a:lnTo>
                      <a:pt x="15713" y="5295"/>
                    </a:lnTo>
                    <a:lnTo>
                      <a:pt x="15727" y="5302"/>
                    </a:lnTo>
                    <a:lnTo>
                      <a:pt x="15742" y="5311"/>
                    </a:lnTo>
                    <a:lnTo>
                      <a:pt x="15756" y="5319"/>
                    </a:lnTo>
                    <a:lnTo>
                      <a:pt x="15769" y="5329"/>
                    </a:lnTo>
                    <a:lnTo>
                      <a:pt x="15781" y="5339"/>
                    </a:lnTo>
                    <a:lnTo>
                      <a:pt x="15794" y="5350"/>
                    </a:lnTo>
                    <a:lnTo>
                      <a:pt x="15806" y="5360"/>
                    </a:lnTo>
                    <a:lnTo>
                      <a:pt x="15817" y="5373"/>
                    </a:lnTo>
                    <a:lnTo>
                      <a:pt x="15828" y="5385"/>
                    </a:lnTo>
                    <a:lnTo>
                      <a:pt x="15838" y="5398"/>
                    </a:lnTo>
                    <a:lnTo>
                      <a:pt x="15847" y="5411"/>
                    </a:lnTo>
                    <a:lnTo>
                      <a:pt x="15856" y="5425"/>
                    </a:lnTo>
                    <a:lnTo>
                      <a:pt x="15864" y="5439"/>
                    </a:lnTo>
                    <a:lnTo>
                      <a:pt x="15872" y="5454"/>
                    </a:lnTo>
                    <a:lnTo>
                      <a:pt x="15879" y="5469"/>
                    </a:lnTo>
                    <a:lnTo>
                      <a:pt x="15884" y="5485"/>
                    </a:lnTo>
                    <a:lnTo>
                      <a:pt x="15890" y="5500"/>
                    </a:lnTo>
                    <a:lnTo>
                      <a:pt x="15895" y="5517"/>
                    </a:lnTo>
                    <a:lnTo>
                      <a:pt x="15898" y="5533"/>
                    </a:lnTo>
                    <a:lnTo>
                      <a:pt x="15901" y="5550"/>
                    </a:lnTo>
                    <a:lnTo>
                      <a:pt x="15903" y="5567"/>
                    </a:lnTo>
                    <a:lnTo>
                      <a:pt x="15905" y="5584"/>
                    </a:lnTo>
                    <a:lnTo>
                      <a:pt x="15906" y="5601"/>
                    </a:lnTo>
                    <a:lnTo>
                      <a:pt x="15906" y="8571"/>
                    </a:lnTo>
                    <a:lnTo>
                      <a:pt x="15905" y="8588"/>
                    </a:lnTo>
                    <a:lnTo>
                      <a:pt x="15903" y="8605"/>
                    </a:lnTo>
                    <a:lnTo>
                      <a:pt x="15901" y="8622"/>
                    </a:lnTo>
                    <a:lnTo>
                      <a:pt x="15898" y="8639"/>
                    </a:lnTo>
                    <a:lnTo>
                      <a:pt x="15895" y="8655"/>
                    </a:lnTo>
                    <a:lnTo>
                      <a:pt x="15890" y="8672"/>
                    </a:lnTo>
                    <a:lnTo>
                      <a:pt x="15884" y="8687"/>
                    </a:lnTo>
                    <a:lnTo>
                      <a:pt x="15879" y="8703"/>
                    </a:lnTo>
                    <a:lnTo>
                      <a:pt x="15872" y="8718"/>
                    </a:lnTo>
                    <a:lnTo>
                      <a:pt x="15864" y="8733"/>
                    </a:lnTo>
                    <a:lnTo>
                      <a:pt x="15856" y="8746"/>
                    </a:lnTo>
                    <a:lnTo>
                      <a:pt x="15847" y="8760"/>
                    </a:lnTo>
                    <a:lnTo>
                      <a:pt x="15838" y="8774"/>
                    </a:lnTo>
                    <a:lnTo>
                      <a:pt x="15828" y="8787"/>
                    </a:lnTo>
                    <a:lnTo>
                      <a:pt x="15817" y="8798"/>
                    </a:lnTo>
                    <a:lnTo>
                      <a:pt x="15806" y="8810"/>
                    </a:lnTo>
                    <a:lnTo>
                      <a:pt x="15794" y="8822"/>
                    </a:lnTo>
                    <a:lnTo>
                      <a:pt x="15781" y="8832"/>
                    </a:lnTo>
                    <a:lnTo>
                      <a:pt x="15769" y="8843"/>
                    </a:lnTo>
                    <a:lnTo>
                      <a:pt x="15756" y="8853"/>
                    </a:lnTo>
                    <a:lnTo>
                      <a:pt x="15742" y="8861"/>
                    </a:lnTo>
                    <a:lnTo>
                      <a:pt x="15727" y="8870"/>
                    </a:lnTo>
                    <a:lnTo>
                      <a:pt x="15713" y="8877"/>
                    </a:lnTo>
                    <a:lnTo>
                      <a:pt x="15697" y="8883"/>
                    </a:lnTo>
                    <a:lnTo>
                      <a:pt x="15683" y="8890"/>
                    </a:lnTo>
                    <a:lnTo>
                      <a:pt x="15667" y="8895"/>
                    </a:lnTo>
                    <a:lnTo>
                      <a:pt x="15651" y="8899"/>
                    </a:lnTo>
                    <a:lnTo>
                      <a:pt x="15635" y="8904"/>
                    </a:lnTo>
                    <a:lnTo>
                      <a:pt x="15618" y="8907"/>
                    </a:lnTo>
                    <a:lnTo>
                      <a:pt x="15601" y="8909"/>
                    </a:lnTo>
                    <a:lnTo>
                      <a:pt x="15584" y="8910"/>
                    </a:lnTo>
                    <a:lnTo>
                      <a:pt x="15566" y="8910"/>
                    </a:lnTo>
                    <a:lnTo>
                      <a:pt x="10285" y="8910"/>
                    </a:lnTo>
                    <a:lnTo>
                      <a:pt x="10285" y="10098"/>
                    </a:lnTo>
                    <a:lnTo>
                      <a:pt x="5620" y="10098"/>
                    </a:lnTo>
                    <a:lnTo>
                      <a:pt x="5620" y="8910"/>
                    </a:lnTo>
                    <a:lnTo>
                      <a:pt x="339" y="8910"/>
                    </a:lnTo>
                    <a:lnTo>
                      <a:pt x="322" y="8910"/>
                    </a:lnTo>
                    <a:lnTo>
                      <a:pt x="305" y="8909"/>
                    </a:lnTo>
                    <a:lnTo>
                      <a:pt x="288" y="8907"/>
                    </a:lnTo>
                    <a:lnTo>
                      <a:pt x="271" y="8904"/>
                    </a:lnTo>
                    <a:lnTo>
                      <a:pt x="255" y="8899"/>
                    </a:lnTo>
                    <a:lnTo>
                      <a:pt x="239" y="8895"/>
                    </a:lnTo>
                    <a:lnTo>
                      <a:pt x="223" y="8890"/>
                    </a:lnTo>
                    <a:lnTo>
                      <a:pt x="207" y="8883"/>
                    </a:lnTo>
                    <a:lnTo>
                      <a:pt x="192" y="8877"/>
                    </a:lnTo>
                    <a:lnTo>
                      <a:pt x="177" y="8870"/>
                    </a:lnTo>
                    <a:lnTo>
                      <a:pt x="164" y="8861"/>
                    </a:lnTo>
                    <a:lnTo>
                      <a:pt x="150" y="8853"/>
                    </a:lnTo>
                    <a:lnTo>
                      <a:pt x="137" y="8843"/>
                    </a:lnTo>
                    <a:lnTo>
                      <a:pt x="124" y="8832"/>
                    </a:lnTo>
                    <a:lnTo>
                      <a:pt x="112" y="8822"/>
                    </a:lnTo>
                    <a:lnTo>
                      <a:pt x="100" y="8810"/>
                    </a:lnTo>
                    <a:lnTo>
                      <a:pt x="88" y="8798"/>
                    </a:lnTo>
                    <a:lnTo>
                      <a:pt x="78" y="8787"/>
                    </a:lnTo>
                    <a:lnTo>
                      <a:pt x="68" y="8774"/>
                    </a:lnTo>
                    <a:lnTo>
                      <a:pt x="58" y="8760"/>
                    </a:lnTo>
                    <a:lnTo>
                      <a:pt x="49" y="8746"/>
                    </a:lnTo>
                    <a:lnTo>
                      <a:pt x="41" y="8733"/>
                    </a:lnTo>
                    <a:lnTo>
                      <a:pt x="34" y="8718"/>
                    </a:lnTo>
                    <a:lnTo>
                      <a:pt x="27" y="8703"/>
                    </a:lnTo>
                    <a:lnTo>
                      <a:pt x="20" y="8687"/>
                    </a:lnTo>
                    <a:lnTo>
                      <a:pt x="15" y="8672"/>
                    </a:lnTo>
                    <a:lnTo>
                      <a:pt x="11" y="8655"/>
                    </a:lnTo>
                    <a:lnTo>
                      <a:pt x="6" y="8639"/>
                    </a:lnTo>
                    <a:lnTo>
                      <a:pt x="4" y="8622"/>
                    </a:lnTo>
                    <a:lnTo>
                      <a:pt x="2" y="8605"/>
                    </a:lnTo>
                    <a:lnTo>
                      <a:pt x="0" y="8588"/>
                    </a:lnTo>
                    <a:lnTo>
                      <a:pt x="0" y="8571"/>
                    </a:lnTo>
                    <a:lnTo>
                      <a:pt x="0" y="5601"/>
                    </a:lnTo>
                    <a:lnTo>
                      <a:pt x="0" y="5584"/>
                    </a:lnTo>
                    <a:lnTo>
                      <a:pt x="2" y="5567"/>
                    </a:lnTo>
                    <a:lnTo>
                      <a:pt x="4" y="5550"/>
                    </a:lnTo>
                    <a:lnTo>
                      <a:pt x="6" y="5533"/>
                    </a:lnTo>
                    <a:lnTo>
                      <a:pt x="11" y="5517"/>
                    </a:lnTo>
                    <a:lnTo>
                      <a:pt x="15" y="5500"/>
                    </a:lnTo>
                    <a:lnTo>
                      <a:pt x="20" y="5485"/>
                    </a:lnTo>
                    <a:lnTo>
                      <a:pt x="27" y="5469"/>
                    </a:lnTo>
                    <a:lnTo>
                      <a:pt x="34" y="5454"/>
                    </a:lnTo>
                    <a:lnTo>
                      <a:pt x="41" y="5439"/>
                    </a:lnTo>
                    <a:lnTo>
                      <a:pt x="49" y="5425"/>
                    </a:lnTo>
                    <a:lnTo>
                      <a:pt x="58" y="5411"/>
                    </a:lnTo>
                    <a:lnTo>
                      <a:pt x="68" y="5398"/>
                    </a:lnTo>
                    <a:lnTo>
                      <a:pt x="78" y="5385"/>
                    </a:lnTo>
                    <a:lnTo>
                      <a:pt x="88" y="5373"/>
                    </a:lnTo>
                    <a:lnTo>
                      <a:pt x="100" y="5360"/>
                    </a:lnTo>
                    <a:lnTo>
                      <a:pt x="112" y="5350"/>
                    </a:lnTo>
                    <a:lnTo>
                      <a:pt x="124" y="5339"/>
                    </a:lnTo>
                    <a:lnTo>
                      <a:pt x="137" y="5329"/>
                    </a:lnTo>
                    <a:lnTo>
                      <a:pt x="150" y="5319"/>
                    </a:lnTo>
                    <a:lnTo>
                      <a:pt x="164" y="5311"/>
                    </a:lnTo>
                    <a:lnTo>
                      <a:pt x="177" y="5302"/>
                    </a:lnTo>
                    <a:lnTo>
                      <a:pt x="192" y="5295"/>
                    </a:lnTo>
                    <a:lnTo>
                      <a:pt x="207" y="5288"/>
                    </a:lnTo>
                    <a:lnTo>
                      <a:pt x="223" y="5282"/>
                    </a:lnTo>
                    <a:lnTo>
                      <a:pt x="239" y="5277"/>
                    </a:lnTo>
                    <a:lnTo>
                      <a:pt x="255" y="5272"/>
                    </a:lnTo>
                    <a:lnTo>
                      <a:pt x="271" y="5268"/>
                    </a:lnTo>
                    <a:lnTo>
                      <a:pt x="288" y="5265"/>
                    </a:lnTo>
                    <a:lnTo>
                      <a:pt x="305" y="5263"/>
                    </a:lnTo>
                    <a:lnTo>
                      <a:pt x="322" y="5262"/>
                    </a:lnTo>
                    <a:lnTo>
                      <a:pt x="339" y="5262"/>
                    </a:lnTo>
                    <a:close/>
                    <a:moveTo>
                      <a:pt x="4317" y="1018"/>
                    </a:moveTo>
                    <a:lnTo>
                      <a:pt x="11261" y="1018"/>
                    </a:lnTo>
                    <a:lnTo>
                      <a:pt x="11273" y="1018"/>
                    </a:lnTo>
                    <a:lnTo>
                      <a:pt x="11284" y="1019"/>
                    </a:lnTo>
                    <a:lnTo>
                      <a:pt x="11293" y="1021"/>
                    </a:lnTo>
                    <a:lnTo>
                      <a:pt x="11304" y="1023"/>
                    </a:lnTo>
                    <a:lnTo>
                      <a:pt x="11313" y="1026"/>
                    </a:lnTo>
                    <a:lnTo>
                      <a:pt x="11323" y="1028"/>
                    </a:lnTo>
                    <a:lnTo>
                      <a:pt x="11333" y="1032"/>
                    </a:lnTo>
                    <a:lnTo>
                      <a:pt x="11341" y="1036"/>
                    </a:lnTo>
                    <a:lnTo>
                      <a:pt x="11358" y="1045"/>
                    </a:lnTo>
                    <a:lnTo>
                      <a:pt x="11374" y="1057"/>
                    </a:lnTo>
                    <a:lnTo>
                      <a:pt x="11388" y="1069"/>
                    </a:lnTo>
                    <a:lnTo>
                      <a:pt x="11402" y="1083"/>
                    </a:lnTo>
                    <a:lnTo>
                      <a:pt x="11414" y="1099"/>
                    </a:lnTo>
                    <a:lnTo>
                      <a:pt x="11426" y="1116"/>
                    </a:lnTo>
                    <a:lnTo>
                      <a:pt x="11437" y="1134"/>
                    </a:lnTo>
                    <a:lnTo>
                      <a:pt x="11446" y="1152"/>
                    </a:lnTo>
                    <a:lnTo>
                      <a:pt x="11456" y="1172"/>
                    </a:lnTo>
                    <a:lnTo>
                      <a:pt x="11464" y="1193"/>
                    </a:lnTo>
                    <a:lnTo>
                      <a:pt x="11471" y="1213"/>
                    </a:lnTo>
                    <a:lnTo>
                      <a:pt x="11478" y="1234"/>
                    </a:lnTo>
                    <a:lnTo>
                      <a:pt x="12396" y="4366"/>
                    </a:lnTo>
                    <a:lnTo>
                      <a:pt x="12398" y="4377"/>
                    </a:lnTo>
                    <a:lnTo>
                      <a:pt x="12400" y="4387"/>
                    </a:lnTo>
                    <a:lnTo>
                      <a:pt x="12401" y="4398"/>
                    </a:lnTo>
                    <a:lnTo>
                      <a:pt x="12401" y="4409"/>
                    </a:lnTo>
                    <a:lnTo>
                      <a:pt x="12400" y="4418"/>
                    </a:lnTo>
                    <a:lnTo>
                      <a:pt x="12398" y="4429"/>
                    </a:lnTo>
                    <a:lnTo>
                      <a:pt x="12396" y="4438"/>
                    </a:lnTo>
                    <a:lnTo>
                      <a:pt x="12392" y="4448"/>
                    </a:lnTo>
                    <a:lnTo>
                      <a:pt x="12388" y="4457"/>
                    </a:lnTo>
                    <a:lnTo>
                      <a:pt x="12384" y="4467"/>
                    </a:lnTo>
                    <a:lnTo>
                      <a:pt x="12379" y="4475"/>
                    </a:lnTo>
                    <a:lnTo>
                      <a:pt x="12373" y="4484"/>
                    </a:lnTo>
                    <a:lnTo>
                      <a:pt x="12366" y="4494"/>
                    </a:lnTo>
                    <a:lnTo>
                      <a:pt x="12360" y="4501"/>
                    </a:lnTo>
                    <a:lnTo>
                      <a:pt x="12352" y="4509"/>
                    </a:lnTo>
                    <a:lnTo>
                      <a:pt x="12345" y="4517"/>
                    </a:lnTo>
                    <a:lnTo>
                      <a:pt x="12327" y="4531"/>
                    </a:lnTo>
                    <a:lnTo>
                      <a:pt x="12309" y="4543"/>
                    </a:lnTo>
                    <a:lnTo>
                      <a:pt x="12288" y="4555"/>
                    </a:lnTo>
                    <a:lnTo>
                      <a:pt x="12268" y="4565"/>
                    </a:lnTo>
                    <a:lnTo>
                      <a:pt x="12246" y="4572"/>
                    </a:lnTo>
                    <a:lnTo>
                      <a:pt x="12224" y="4577"/>
                    </a:lnTo>
                    <a:lnTo>
                      <a:pt x="12213" y="4580"/>
                    </a:lnTo>
                    <a:lnTo>
                      <a:pt x="12201" y="4581"/>
                    </a:lnTo>
                    <a:lnTo>
                      <a:pt x="12191" y="4582"/>
                    </a:lnTo>
                    <a:lnTo>
                      <a:pt x="12179" y="4583"/>
                    </a:lnTo>
                    <a:lnTo>
                      <a:pt x="3723" y="4583"/>
                    </a:lnTo>
                    <a:lnTo>
                      <a:pt x="3713" y="4582"/>
                    </a:lnTo>
                    <a:lnTo>
                      <a:pt x="3701" y="4582"/>
                    </a:lnTo>
                    <a:lnTo>
                      <a:pt x="3690" y="4580"/>
                    </a:lnTo>
                    <a:lnTo>
                      <a:pt x="3680" y="4577"/>
                    </a:lnTo>
                    <a:lnTo>
                      <a:pt x="3668" y="4575"/>
                    </a:lnTo>
                    <a:lnTo>
                      <a:pt x="3658" y="4572"/>
                    </a:lnTo>
                    <a:lnTo>
                      <a:pt x="3647" y="4569"/>
                    </a:lnTo>
                    <a:lnTo>
                      <a:pt x="3636" y="4565"/>
                    </a:lnTo>
                    <a:lnTo>
                      <a:pt x="3616" y="4556"/>
                    </a:lnTo>
                    <a:lnTo>
                      <a:pt x="3597" y="4545"/>
                    </a:lnTo>
                    <a:lnTo>
                      <a:pt x="3588" y="4539"/>
                    </a:lnTo>
                    <a:lnTo>
                      <a:pt x="3579" y="4532"/>
                    </a:lnTo>
                    <a:lnTo>
                      <a:pt x="3570" y="4525"/>
                    </a:lnTo>
                    <a:lnTo>
                      <a:pt x="3563" y="4518"/>
                    </a:lnTo>
                    <a:lnTo>
                      <a:pt x="3556" y="4511"/>
                    </a:lnTo>
                    <a:lnTo>
                      <a:pt x="3548" y="4503"/>
                    </a:lnTo>
                    <a:lnTo>
                      <a:pt x="3542" y="4495"/>
                    </a:lnTo>
                    <a:lnTo>
                      <a:pt x="3535" y="4486"/>
                    </a:lnTo>
                    <a:lnTo>
                      <a:pt x="3529" y="4478"/>
                    </a:lnTo>
                    <a:lnTo>
                      <a:pt x="3524" y="4468"/>
                    </a:lnTo>
                    <a:lnTo>
                      <a:pt x="3519" y="4458"/>
                    </a:lnTo>
                    <a:lnTo>
                      <a:pt x="3515" y="4449"/>
                    </a:lnTo>
                    <a:lnTo>
                      <a:pt x="3512" y="4439"/>
                    </a:lnTo>
                    <a:lnTo>
                      <a:pt x="3509" y="4430"/>
                    </a:lnTo>
                    <a:lnTo>
                      <a:pt x="3507" y="4419"/>
                    </a:lnTo>
                    <a:lnTo>
                      <a:pt x="3506" y="4410"/>
                    </a:lnTo>
                    <a:lnTo>
                      <a:pt x="3505" y="4399"/>
                    </a:lnTo>
                    <a:lnTo>
                      <a:pt x="3505" y="4388"/>
                    </a:lnTo>
                    <a:lnTo>
                      <a:pt x="3506" y="4378"/>
                    </a:lnTo>
                    <a:lnTo>
                      <a:pt x="3508" y="4366"/>
                    </a:lnTo>
                    <a:lnTo>
                      <a:pt x="4101" y="1234"/>
                    </a:lnTo>
                    <a:lnTo>
                      <a:pt x="4106" y="1213"/>
                    </a:lnTo>
                    <a:lnTo>
                      <a:pt x="4112" y="1192"/>
                    </a:lnTo>
                    <a:lnTo>
                      <a:pt x="4119" y="1171"/>
                    </a:lnTo>
                    <a:lnTo>
                      <a:pt x="4128" y="1151"/>
                    </a:lnTo>
                    <a:lnTo>
                      <a:pt x="4138" y="1132"/>
                    </a:lnTo>
                    <a:lnTo>
                      <a:pt x="4148" y="1114"/>
                    </a:lnTo>
                    <a:lnTo>
                      <a:pt x="4160" y="1098"/>
                    </a:lnTo>
                    <a:lnTo>
                      <a:pt x="4174" y="1082"/>
                    </a:lnTo>
                    <a:lnTo>
                      <a:pt x="4187" y="1068"/>
                    </a:lnTo>
                    <a:lnTo>
                      <a:pt x="4202" y="1056"/>
                    </a:lnTo>
                    <a:lnTo>
                      <a:pt x="4219" y="1045"/>
                    </a:lnTo>
                    <a:lnTo>
                      <a:pt x="4236" y="1035"/>
                    </a:lnTo>
                    <a:lnTo>
                      <a:pt x="4246" y="1031"/>
                    </a:lnTo>
                    <a:lnTo>
                      <a:pt x="4255" y="1028"/>
                    </a:lnTo>
                    <a:lnTo>
                      <a:pt x="4265" y="1025"/>
                    </a:lnTo>
                    <a:lnTo>
                      <a:pt x="4275" y="1023"/>
                    </a:lnTo>
                    <a:lnTo>
                      <a:pt x="4285" y="1021"/>
                    </a:lnTo>
                    <a:lnTo>
                      <a:pt x="4296" y="1019"/>
                    </a:lnTo>
                    <a:lnTo>
                      <a:pt x="4306" y="1018"/>
                    </a:lnTo>
                    <a:lnTo>
                      <a:pt x="4317" y="1018"/>
                    </a:lnTo>
                    <a:close/>
                    <a:moveTo>
                      <a:pt x="1336" y="6492"/>
                    </a:moveTo>
                    <a:lnTo>
                      <a:pt x="2863" y="6492"/>
                    </a:lnTo>
                    <a:lnTo>
                      <a:pt x="4559" y="7256"/>
                    </a:lnTo>
                    <a:lnTo>
                      <a:pt x="4559" y="7722"/>
                    </a:lnTo>
                    <a:lnTo>
                      <a:pt x="1336" y="7722"/>
                    </a:lnTo>
                    <a:lnTo>
                      <a:pt x="1336" y="6492"/>
                    </a:lnTo>
                    <a:close/>
                    <a:moveTo>
                      <a:pt x="14570" y="6492"/>
                    </a:moveTo>
                    <a:lnTo>
                      <a:pt x="13042" y="6492"/>
                    </a:lnTo>
                    <a:lnTo>
                      <a:pt x="11346" y="7256"/>
                    </a:lnTo>
                    <a:lnTo>
                      <a:pt x="11346" y="7722"/>
                    </a:lnTo>
                    <a:lnTo>
                      <a:pt x="14570" y="7722"/>
                    </a:lnTo>
                    <a:lnTo>
                      <a:pt x="14570" y="64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110" name="Freeform 14"/>
              <p:cNvSpPr>
                <a:spLocks noEditPoints="1"/>
              </p:cNvSpPr>
              <p:nvPr/>
            </p:nvSpPr>
            <p:spPr bwMode="auto">
              <a:xfrm>
                <a:off x="4917384" y="5351862"/>
                <a:ext cx="630205" cy="96313"/>
              </a:xfrm>
              <a:custGeom>
                <a:avLst/>
                <a:gdLst/>
                <a:ahLst/>
                <a:cxnLst>
                  <a:cxn ang="0">
                    <a:pos x="12764" y="0"/>
                  </a:cxn>
                  <a:cxn ang="0">
                    <a:pos x="13297" y="1019"/>
                  </a:cxn>
                  <a:cxn ang="0">
                    <a:pos x="13258" y="1395"/>
                  </a:cxn>
                  <a:cxn ang="0">
                    <a:pos x="13232" y="1500"/>
                  </a:cxn>
                  <a:cxn ang="0">
                    <a:pos x="13199" y="1599"/>
                  </a:cxn>
                  <a:cxn ang="0">
                    <a:pos x="13162" y="1691"/>
                  </a:cxn>
                  <a:cxn ang="0">
                    <a:pos x="13118" y="1772"/>
                  </a:cxn>
                  <a:cxn ang="0">
                    <a:pos x="13072" y="1846"/>
                  </a:cxn>
                  <a:cxn ang="0">
                    <a:pos x="13019" y="1908"/>
                  </a:cxn>
                  <a:cxn ang="0">
                    <a:pos x="12963" y="1959"/>
                  </a:cxn>
                  <a:cxn ang="0">
                    <a:pos x="12905" y="1998"/>
                  </a:cxn>
                  <a:cxn ang="0">
                    <a:pos x="12843" y="2024"/>
                  </a:cxn>
                  <a:cxn ang="0">
                    <a:pos x="12779" y="2036"/>
                  </a:cxn>
                  <a:cxn ang="0">
                    <a:pos x="10104" y="2036"/>
                  </a:cxn>
                  <a:cxn ang="0">
                    <a:pos x="10040" y="2024"/>
                  </a:cxn>
                  <a:cxn ang="0">
                    <a:pos x="9978" y="1998"/>
                  </a:cxn>
                  <a:cxn ang="0">
                    <a:pos x="9920" y="1959"/>
                  </a:cxn>
                  <a:cxn ang="0">
                    <a:pos x="9864" y="1908"/>
                  </a:cxn>
                  <a:cxn ang="0">
                    <a:pos x="9812" y="1846"/>
                  </a:cxn>
                  <a:cxn ang="0">
                    <a:pos x="9764" y="1772"/>
                  </a:cxn>
                  <a:cxn ang="0">
                    <a:pos x="9722" y="1691"/>
                  </a:cxn>
                  <a:cxn ang="0">
                    <a:pos x="9684" y="1599"/>
                  </a:cxn>
                  <a:cxn ang="0">
                    <a:pos x="9652" y="1500"/>
                  </a:cxn>
                  <a:cxn ang="0">
                    <a:pos x="9625" y="1395"/>
                  </a:cxn>
                  <a:cxn ang="0">
                    <a:pos x="9586" y="1019"/>
                  </a:cxn>
                  <a:cxn ang="0">
                    <a:pos x="10119" y="0"/>
                  </a:cxn>
                  <a:cxn ang="0">
                    <a:pos x="3172" y="0"/>
                  </a:cxn>
                  <a:cxn ang="0">
                    <a:pos x="3711" y="0"/>
                  </a:cxn>
                  <a:cxn ang="0">
                    <a:pos x="3680" y="1358"/>
                  </a:cxn>
                  <a:cxn ang="0">
                    <a:pos x="3656" y="1466"/>
                  </a:cxn>
                  <a:cxn ang="0">
                    <a:pos x="3625" y="1567"/>
                  </a:cxn>
                  <a:cxn ang="0">
                    <a:pos x="3589" y="1661"/>
                  </a:cxn>
                  <a:cxn ang="0">
                    <a:pos x="3548" y="1746"/>
                  </a:cxn>
                  <a:cxn ang="0">
                    <a:pos x="3502" y="1822"/>
                  </a:cxn>
                  <a:cxn ang="0">
                    <a:pos x="3451" y="1888"/>
                  </a:cxn>
                  <a:cxn ang="0">
                    <a:pos x="3397" y="1944"/>
                  </a:cxn>
                  <a:cxn ang="0">
                    <a:pos x="3339" y="1986"/>
                  </a:cxn>
                  <a:cxn ang="0">
                    <a:pos x="3279" y="2017"/>
                  </a:cxn>
                  <a:cxn ang="0">
                    <a:pos x="3215" y="2034"/>
                  </a:cxn>
                  <a:cxn ang="0">
                    <a:pos x="540" y="2037"/>
                  </a:cxn>
                  <a:cxn ang="0">
                    <a:pos x="475" y="2030"/>
                  </a:cxn>
                  <a:cxn ang="0">
                    <a:pos x="412" y="2008"/>
                  </a:cxn>
                  <a:cxn ang="0">
                    <a:pos x="353" y="1973"/>
                  </a:cxn>
                  <a:cxn ang="0">
                    <a:pos x="297" y="1927"/>
                  </a:cxn>
                  <a:cxn ang="0">
                    <a:pos x="244" y="1867"/>
                  </a:cxn>
                  <a:cxn ang="0">
                    <a:pos x="194" y="1798"/>
                  </a:cxn>
                  <a:cxn ang="0">
                    <a:pos x="150" y="1719"/>
                  </a:cxn>
                  <a:cxn ang="0">
                    <a:pos x="110" y="1630"/>
                  </a:cxn>
                  <a:cxn ang="0">
                    <a:pos x="76" y="1534"/>
                  </a:cxn>
                  <a:cxn ang="0">
                    <a:pos x="47" y="1430"/>
                  </a:cxn>
                  <a:cxn ang="0">
                    <a:pos x="0" y="1358"/>
                  </a:cxn>
                  <a:cxn ang="0">
                    <a:pos x="527" y="0"/>
                  </a:cxn>
                </a:cxnLst>
                <a:rect l="0" t="0" r="r" b="b"/>
                <a:pathLst>
                  <a:path w="13297" h="2037">
                    <a:moveTo>
                      <a:pt x="10126" y="0"/>
                    </a:moveTo>
                    <a:lnTo>
                      <a:pt x="12757" y="0"/>
                    </a:lnTo>
                    <a:lnTo>
                      <a:pt x="12764" y="0"/>
                    </a:lnTo>
                    <a:lnTo>
                      <a:pt x="12771" y="0"/>
                    </a:lnTo>
                    <a:lnTo>
                      <a:pt x="13297" y="0"/>
                    </a:lnTo>
                    <a:lnTo>
                      <a:pt x="13297" y="1019"/>
                    </a:lnTo>
                    <a:lnTo>
                      <a:pt x="13297" y="1358"/>
                    </a:lnTo>
                    <a:lnTo>
                      <a:pt x="13266" y="1358"/>
                    </a:lnTo>
                    <a:lnTo>
                      <a:pt x="13258" y="1395"/>
                    </a:lnTo>
                    <a:lnTo>
                      <a:pt x="13250" y="1430"/>
                    </a:lnTo>
                    <a:lnTo>
                      <a:pt x="13241" y="1466"/>
                    </a:lnTo>
                    <a:lnTo>
                      <a:pt x="13232" y="1500"/>
                    </a:lnTo>
                    <a:lnTo>
                      <a:pt x="13221" y="1534"/>
                    </a:lnTo>
                    <a:lnTo>
                      <a:pt x="13211" y="1567"/>
                    </a:lnTo>
                    <a:lnTo>
                      <a:pt x="13199" y="1599"/>
                    </a:lnTo>
                    <a:lnTo>
                      <a:pt x="13187" y="1630"/>
                    </a:lnTo>
                    <a:lnTo>
                      <a:pt x="13175" y="1661"/>
                    </a:lnTo>
                    <a:lnTo>
                      <a:pt x="13162" y="1691"/>
                    </a:lnTo>
                    <a:lnTo>
                      <a:pt x="13148" y="1719"/>
                    </a:lnTo>
                    <a:lnTo>
                      <a:pt x="13133" y="1746"/>
                    </a:lnTo>
                    <a:lnTo>
                      <a:pt x="13118" y="1772"/>
                    </a:lnTo>
                    <a:lnTo>
                      <a:pt x="13103" y="1798"/>
                    </a:lnTo>
                    <a:lnTo>
                      <a:pt x="13087" y="1822"/>
                    </a:lnTo>
                    <a:lnTo>
                      <a:pt x="13072" y="1846"/>
                    </a:lnTo>
                    <a:lnTo>
                      <a:pt x="13055" y="1867"/>
                    </a:lnTo>
                    <a:lnTo>
                      <a:pt x="13036" y="1888"/>
                    </a:lnTo>
                    <a:lnTo>
                      <a:pt x="13019" y="1908"/>
                    </a:lnTo>
                    <a:lnTo>
                      <a:pt x="13001" y="1927"/>
                    </a:lnTo>
                    <a:lnTo>
                      <a:pt x="12982" y="1944"/>
                    </a:lnTo>
                    <a:lnTo>
                      <a:pt x="12963" y="1959"/>
                    </a:lnTo>
                    <a:lnTo>
                      <a:pt x="12944" y="1973"/>
                    </a:lnTo>
                    <a:lnTo>
                      <a:pt x="12925" y="1986"/>
                    </a:lnTo>
                    <a:lnTo>
                      <a:pt x="12905" y="1998"/>
                    </a:lnTo>
                    <a:lnTo>
                      <a:pt x="12885" y="2008"/>
                    </a:lnTo>
                    <a:lnTo>
                      <a:pt x="12864" y="2017"/>
                    </a:lnTo>
                    <a:lnTo>
                      <a:pt x="12843" y="2024"/>
                    </a:lnTo>
                    <a:lnTo>
                      <a:pt x="12822" y="2030"/>
                    </a:lnTo>
                    <a:lnTo>
                      <a:pt x="12801" y="2034"/>
                    </a:lnTo>
                    <a:lnTo>
                      <a:pt x="12779" y="2036"/>
                    </a:lnTo>
                    <a:lnTo>
                      <a:pt x="12757" y="2037"/>
                    </a:lnTo>
                    <a:lnTo>
                      <a:pt x="10126" y="2037"/>
                    </a:lnTo>
                    <a:lnTo>
                      <a:pt x="10104" y="2036"/>
                    </a:lnTo>
                    <a:lnTo>
                      <a:pt x="10082" y="2034"/>
                    </a:lnTo>
                    <a:lnTo>
                      <a:pt x="10061" y="2030"/>
                    </a:lnTo>
                    <a:lnTo>
                      <a:pt x="10040" y="2024"/>
                    </a:lnTo>
                    <a:lnTo>
                      <a:pt x="10019" y="2017"/>
                    </a:lnTo>
                    <a:lnTo>
                      <a:pt x="9998" y="2008"/>
                    </a:lnTo>
                    <a:lnTo>
                      <a:pt x="9978" y="1998"/>
                    </a:lnTo>
                    <a:lnTo>
                      <a:pt x="9958" y="1986"/>
                    </a:lnTo>
                    <a:lnTo>
                      <a:pt x="9939" y="1973"/>
                    </a:lnTo>
                    <a:lnTo>
                      <a:pt x="9920" y="1959"/>
                    </a:lnTo>
                    <a:lnTo>
                      <a:pt x="9900" y="1944"/>
                    </a:lnTo>
                    <a:lnTo>
                      <a:pt x="9882" y="1927"/>
                    </a:lnTo>
                    <a:lnTo>
                      <a:pt x="9864" y="1908"/>
                    </a:lnTo>
                    <a:lnTo>
                      <a:pt x="9846" y="1888"/>
                    </a:lnTo>
                    <a:lnTo>
                      <a:pt x="9829" y="1867"/>
                    </a:lnTo>
                    <a:lnTo>
                      <a:pt x="9812" y="1846"/>
                    </a:lnTo>
                    <a:lnTo>
                      <a:pt x="9795" y="1822"/>
                    </a:lnTo>
                    <a:lnTo>
                      <a:pt x="9779" y="1798"/>
                    </a:lnTo>
                    <a:lnTo>
                      <a:pt x="9764" y="1772"/>
                    </a:lnTo>
                    <a:lnTo>
                      <a:pt x="9750" y="1746"/>
                    </a:lnTo>
                    <a:lnTo>
                      <a:pt x="9736" y="1719"/>
                    </a:lnTo>
                    <a:lnTo>
                      <a:pt x="9722" y="1691"/>
                    </a:lnTo>
                    <a:lnTo>
                      <a:pt x="9708" y="1661"/>
                    </a:lnTo>
                    <a:lnTo>
                      <a:pt x="9695" y="1630"/>
                    </a:lnTo>
                    <a:lnTo>
                      <a:pt x="9684" y="1599"/>
                    </a:lnTo>
                    <a:lnTo>
                      <a:pt x="9672" y="1567"/>
                    </a:lnTo>
                    <a:lnTo>
                      <a:pt x="9661" y="1534"/>
                    </a:lnTo>
                    <a:lnTo>
                      <a:pt x="9652" y="1500"/>
                    </a:lnTo>
                    <a:lnTo>
                      <a:pt x="9642" y="1466"/>
                    </a:lnTo>
                    <a:lnTo>
                      <a:pt x="9633" y="1430"/>
                    </a:lnTo>
                    <a:lnTo>
                      <a:pt x="9625" y="1395"/>
                    </a:lnTo>
                    <a:lnTo>
                      <a:pt x="9618" y="1358"/>
                    </a:lnTo>
                    <a:lnTo>
                      <a:pt x="9586" y="1358"/>
                    </a:lnTo>
                    <a:lnTo>
                      <a:pt x="9586" y="1019"/>
                    </a:lnTo>
                    <a:lnTo>
                      <a:pt x="9586" y="0"/>
                    </a:lnTo>
                    <a:lnTo>
                      <a:pt x="10113" y="0"/>
                    </a:lnTo>
                    <a:lnTo>
                      <a:pt x="10119" y="0"/>
                    </a:lnTo>
                    <a:lnTo>
                      <a:pt x="10126" y="0"/>
                    </a:lnTo>
                    <a:close/>
                    <a:moveTo>
                      <a:pt x="540" y="0"/>
                    </a:moveTo>
                    <a:lnTo>
                      <a:pt x="3172" y="0"/>
                    </a:lnTo>
                    <a:lnTo>
                      <a:pt x="3178" y="0"/>
                    </a:lnTo>
                    <a:lnTo>
                      <a:pt x="3185" y="0"/>
                    </a:lnTo>
                    <a:lnTo>
                      <a:pt x="3711" y="0"/>
                    </a:lnTo>
                    <a:lnTo>
                      <a:pt x="3711" y="1019"/>
                    </a:lnTo>
                    <a:lnTo>
                      <a:pt x="3711" y="1358"/>
                    </a:lnTo>
                    <a:lnTo>
                      <a:pt x="3680" y="1358"/>
                    </a:lnTo>
                    <a:lnTo>
                      <a:pt x="3673" y="1395"/>
                    </a:lnTo>
                    <a:lnTo>
                      <a:pt x="3664" y="1430"/>
                    </a:lnTo>
                    <a:lnTo>
                      <a:pt x="3656" y="1466"/>
                    </a:lnTo>
                    <a:lnTo>
                      <a:pt x="3646" y="1500"/>
                    </a:lnTo>
                    <a:lnTo>
                      <a:pt x="3636" y="1534"/>
                    </a:lnTo>
                    <a:lnTo>
                      <a:pt x="3625" y="1567"/>
                    </a:lnTo>
                    <a:lnTo>
                      <a:pt x="3613" y="1599"/>
                    </a:lnTo>
                    <a:lnTo>
                      <a:pt x="3602" y="1630"/>
                    </a:lnTo>
                    <a:lnTo>
                      <a:pt x="3589" y="1661"/>
                    </a:lnTo>
                    <a:lnTo>
                      <a:pt x="3576" y="1691"/>
                    </a:lnTo>
                    <a:lnTo>
                      <a:pt x="3562" y="1719"/>
                    </a:lnTo>
                    <a:lnTo>
                      <a:pt x="3548" y="1746"/>
                    </a:lnTo>
                    <a:lnTo>
                      <a:pt x="3533" y="1772"/>
                    </a:lnTo>
                    <a:lnTo>
                      <a:pt x="3518" y="1798"/>
                    </a:lnTo>
                    <a:lnTo>
                      <a:pt x="3502" y="1822"/>
                    </a:lnTo>
                    <a:lnTo>
                      <a:pt x="3486" y="1846"/>
                    </a:lnTo>
                    <a:lnTo>
                      <a:pt x="3469" y="1867"/>
                    </a:lnTo>
                    <a:lnTo>
                      <a:pt x="3451" y="1888"/>
                    </a:lnTo>
                    <a:lnTo>
                      <a:pt x="3434" y="1908"/>
                    </a:lnTo>
                    <a:lnTo>
                      <a:pt x="3416" y="1927"/>
                    </a:lnTo>
                    <a:lnTo>
                      <a:pt x="3397" y="1944"/>
                    </a:lnTo>
                    <a:lnTo>
                      <a:pt x="3378" y="1959"/>
                    </a:lnTo>
                    <a:lnTo>
                      <a:pt x="3358" y="1973"/>
                    </a:lnTo>
                    <a:lnTo>
                      <a:pt x="3339" y="1986"/>
                    </a:lnTo>
                    <a:lnTo>
                      <a:pt x="3319" y="1998"/>
                    </a:lnTo>
                    <a:lnTo>
                      <a:pt x="3299" y="2008"/>
                    </a:lnTo>
                    <a:lnTo>
                      <a:pt x="3279" y="2017"/>
                    </a:lnTo>
                    <a:lnTo>
                      <a:pt x="3258" y="2024"/>
                    </a:lnTo>
                    <a:lnTo>
                      <a:pt x="3236" y="2030"/>
                    </a:lnTo>
                    <a:lnTo>
                      <a:pt x="3215" y="2034"/>
                    </a:lnTo>
                    <a:lnTo>
                      <a:pt x="3194" y="2036"/>
                    </a:lnTo>
                    <a:lnTo>
                      <a:pt x="3172" y="2037"/>
                    </a:lnTo>
                    <a:lnTo>
                      <a:pt x="540" y="2037"/>
                    </a:lnTo>
                    <a:lnTo>
                      <a:pt x="519" y="2036"/>
                    </a:lnTo>
                    <a:lnTo>
                      <a:pt x="496" y="2034"/>
                    </a:lnTo>
                    <a:lnTo>
                      <a:pt x="475" y="2030"/>
                    </a:lnTo>
                    <a:lnTo>
                      <a:pt x="454" y="2024"/>
                    </a:lnTo>
                    <a:lnTo>
                      <a:pt x="434" y="2017"/>
                    </a:lnTo>
                    <a:lnTo>
                      <a:pt x="412" y="2008"/>
                    </a:lnTo>
                    <a:lnTo>
                      <a:pt x="392" y="1998"/>
                    </a:lnTo>
                    <a:lnTo>
                      <a:pt x="372" y="1986"/>
                    </a:lnTo>
                    <a:lnTo>
                      <a:pt x="353" y="1973"/>
                    </a:lnTo>
                    <a:lnTo>
                      <a:pt x="334" y="1959"/>
                    </a:lnTo>
                    <a:lnTo>
                      <a:pt x="315" y="1944"/>
                    </a:lnTo>
                    <a:lnTo>
                      <a:pt x="297" y="1927"/>
                    </a:lnTo>
                    <a:lnTo>
                      <a:pt x="278" y="1908"/>
                    </a:lnTo>
                    <a:lnTo>
                      <a:pt x="261" y="1888"/>
                    </a:lnTo>
                    <a:lnTo>
                      <a:pt x="244" y="1867"/>
                    </a:lnTo>
                    <a:lnTo>
                      <a:pt x="227" y="1846"/>
                    </a:lnTo>
                    <a:lnTo>
                      <a:pt x="210" y="1822"/>
                    </a:lnTo>
                    <a:lnTo>
                      <a:pt x="194" y="1798"/>
                    </a:lnTo>
                    <a:lnTo>
                      <a:pt x="179" y="1772"/>
                    </a:lnTo>
                    <a:lnTo>
                      <a:pt x="164" y="1746"/>
                    </a:lnTo>
                    <a:lnTo>
                      <a:pt x="150" y="1719"/>
                    </a:lnTo>
                    <a:lnTo>
                      <a:pt x="136" y="1691"/>
                    </a:lnTo>
                    <a:lnTo>
                      <a:pt x="123" y="1661"/>
                    </a:lnTo>
                    <a:lnTo>
                      <a:pt x="110" y="1630"/>
                    </a:lnTo>
                    <a:lnTo>
                      <a:pt x="98" y="1599"/>
                    </a:lnTo>
                    <a:lnTo>
                      <a:pt x="86" y="1567"/>
                    </a:lnTo>
                    <a:lnTo>
                      <a:pt x="76" y="1534"/>
                    </a:lnTo>
                    <a:lnTo>
                      <a:pt x="66" y="1500"/>
                    </a:lnTo>
                    <a:lnTo>
                      <a:pt x="57" y="1466"/>
                    </a:lnTo>
                    <a:lnTo>
                      <a:pt x="47" y="1430"/>
                    </a:lnTo>
                    <a:lnTo>
                      <a:pt x="40" y="1395"/>
                    </a:lnTo>
                    <a:lnTo>
                      <a:pt x="32" y="1358"/>
                    </a:lnTo>
                    <a:lnTo>
                      <a:pt x="0" y="1358"/>
                    </a:lnTo>
                    <a:lnTo>
                      <a:pt x="0" y="1019"/>
                    </a:lnTo>
                    <a:lnTo>
                      <a:pt x="0" y="0"/>
                    </a:lnTo>
                    <a:lnTo>
                      <a:pt x="527" y="0"/>
                    </a:lnTo>
                    <a:lnTo>
                      <a:pt x="534" y="0"/>
                    </a:lnTo>
                    <a:lnTo>
                      <a:pt x="54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grpSp>
        <p:grpSp>
          <p:nvGrpSpPr>
            <p:cNvPr id="80" name="组合 569"/>
            <p:cNvGrpSpPr>
              <a:grpSpLocks noChangeAspect="1"/>
            </p:cNvGrpSpPr>
            <p:nvPr/>
          </p:nvGrpSpPr>
          <p:grpSpPr>
            <a:xfrm>
              <a:off x="4297055" y="2047215"/>
              <a:ext cx="193159" cy="119535"/>
              <a:chOff x="4848373" y="4886982"/>
              <a:chExt cx="753819" cy="561193"/>
            </a:xfrm>
            <a:solidFill>
              <a:srgbClr val="1F497D">
                <a:lumMod val="60000"/>
                <a:lumOff val="40000"/>
              </a:srgbClr>
            </a:solidFill>
          </p:grpSpPr>
          <p:sp>
            <p:nvSpPr>
              <p:cNvPr id="103" name="Freeform 11"/>
              <p:cNvSpPr>
                <a:spLocks/>
              </p:cNvSpPr>
              <p:nvPr/>
            </p:nvSpPr>
            <p:spPr bwMode="auto">
              <a:xfrm>
                <a:off x="5503604" y="5008321"/>
                <a:ext cx="69012" cy="91762"/>
              </a:xfrm>
              <a:custGeom>
                <a:avLst/>
                <a:gdLst/>
                <a:ahLst/>
                <a:cxnLst>
                  <a:cxn ang="0">
                    <a:pos x="793" y="8"/>
                  </a:cxn>
                  <a:cxn ang="0">
                    <a:pos x="831" y="1"/>
                  </a:cxn>
                  <a:cxn ang="0">
                    <a:pos x="869" y="1"/>
                  </a:cxn>
                  <a:cxn ang="0">
                    <a:pos x="907" y="8"/>
                  </a:cxn>
                  <a:cxn ang="0">
                    <a:pos x="942" y="22"/>
                  </a:cxn>
                  <a:cxn ang="0">
                    <a:pos x="973" y="43"/>
                  </a:cxn>
                  <a:cxn ang="0">
                    <a:pos x="1000" y="70"/>
                  </a:cxn>
                  <a:cxn ang="0">
                    <a:pos x="1022" y="102"/>
                  </a:cxn>
                  <a:cxn ang="0">
                    <a:pos x="1037" y="138"/>
                  </a:cxn>
                  <a:cxn ang="0">
                    <a:pos x="1457" y="1499"/>
                  </a:cxn>
                  <a:cxn ang="0">
                    <a:pos x="1461" y="1538"/>
                  </a:cxn>
                  <a:cxn ang="0">
                    <a:pos x="1457" y="1575"/>
                  </a:cxn>
                  <a:cxn ang="0">
                    <a:pos x="1446" y="1612"/>
                  </a:cxn>
                  <a:cxn ang="0">
                    <a:pos x="1428" y="1646"/>
                  </a:cxn>
                  <a:cxn ang="0">
                    <a:pos x="1405" y="1674"/>
                  </a:cxn>
                  <a:cxn ang="0">
                    <a:pos x="1376" y="1700"/>
                  </a:cxn>
                  <a:cxn ang="0">
                    <a:pos x="1341" y="1718"/>
                  </a:cxn>
                  <a:cxn ang="0">
                    <a:pos x="668" y="1927"/>
                  </a:cxn>
                  <a:cxn ang="0">
                    <a:pos x="628" y="1936"/>
                  </a:cxn>
                  <a:cxn ang="0">
                    <a:pos x="590" y="1936"/>
                  </a:cxn>
                  <a:cxn ang="0">
                    <a:pos x="553" y="1928"/>
                  </a:cxn>
                  <a:cxn ang="0">
                    <a:pos x="518" y="1913"/>
                  </a:cxn>
                  <a:cxn ang="0">
                    <a:pos x="487" y="1893"/>
                  </a:cxn>
                  <a:cxn ang="0">
                    <a:pos x="459" y="1866"/>
                  </a:cxn>
                  <a:cxn ang="0">
                    <a:pos x="438" y="1835"/>
                  </a:cxn>
                  <a:cxn ang="0">
                    <a:pos x="422" y="1797"/>
                  </a:cxn>
                  <a:cxn ang="0">
                    <a:pos x="3" y="436"/>
                  </a:cxn>
                  <a:cxn ang="0">
                    <a:pos x="0" y="398"/>
                  </a:cxn>
                  <a:cxn ang="0">
                    <a:pos x="3" y="360"/>
                  </a:cxn>
                  <a:cxn ang="0">
                    <a:pos x="14" y="324"/>
                  </a:cxn>
                  <a:cxn ang="0">
                    <a:pos x="31" y="291"/>
                  </a:cxn>
                  <a:cxn ang="0">
                    <a:pos x="55" y="261"/>
                  </a:cxn>
                  <a:cxn ang="0">
                    <a:pos x="85" y="237"/>
                  </a:cxn>
                  <a:cxn ang="0">
                    <a:pos x="119" y="218"/>
                  </a:cxn>
                </a:cxnLst>
                <a:rect l="0" t="0" r="r" b="b"/>
                <a:pathLst>
                  <a:path w="1461" h="1937">
                    <a:moveTo>
                      <a:pt x="138" y="211"/>
                    </a:moveTo>
                    <a:lnTo>
                      <a:pt x="793" y="8"/>
                    </a:lnTo>
                    <a:lnTo>
                      <a:pt x="812" y="4"/>
                    </a:lnTo>
                    <a:lnTo>
                      <a:pt x="831" y="1"/>
                    </a:lnTo>
                    <a:lnTo>
                      <a:pt x="850" y="0"/>
                    </a:lnTo>
                    <a:lnTo>
                      <a:pt x="869" y="1"/>
                    </a:lnTo>
                    <a:lnTo>
                      <a:pt x="889" y="4"/>
                    </a:lnTo>
                    <a:lnTo>
                      <a:pt x="907" y="8"/>
                    </a:lnTo>
                    <a:lnTo>
                      <a:pt x="925" y="15"/>
                    </a:lnTo>
                    <a:lnTo>
                      <a:pt x="942" y="22"/>
                    </a:lnTo>
                    <a:lnTo>
                      <a:pt x="958" y="32"/>
                    </a:lnTo>
                    <a:lnTo>
                      <a:pt x="973" y="43"/>
                    </a:lnTo>
                    <a:lnTo>
                      <a:pt x="987" y="56"/>
                    </a:lnTo>
                    <a:lnTo>
                      <a:pt x="1000" y="70"/>
                    </a:lnTo>
                    <a:lnTo>
                      <a:pt x="1012" y="85"/>
                    </a:lnTo>
                    <a:lnTo>
                      <a:pt x="1022" y="102"/>
                    </a:lnTo>
                    <a:lnTo>
                      <a:pt x="1031" y="119"/>
                    </a:lnTo>
                    <a:lnTo>
                      <a:pt x="1037" y="138"/>
                    </a:lnTo>
                    <a:lnTo>
                      <a:pt x="1452" y="1480"/>
                    </a:lnTo>
                    <a:lnTo>
                      <a:pt x="1457" y="1499"/>
                    </a:lnTo>
                    <a:lnTo>
                      <a:pt x="1460" y="1519"/>
                    </a:lnTo>
                    <a:lnTo>
                      <a:pt x="1461" y="1538"/>
                    </a:lnTo>
                    <a:lnTo>
                      <a:pt x="1460" y="1557"/>
                    </a:lnTo>
                    <a:lnTo>
                      <a:pt x="1457" y="1575"/>
                    </a:lnTo>
                    <a:lnTo>
                      <a:pt x="1452" y="1595"/>
                    </a:lnTo>
                    <a:lnTo>
                      <a:pt x="1446" y="1612"/>
                    </a:lnTo>
                    <a:lnTo>
                      <a:pt x="1438" y="1629"/>
                    </a:lnTo>
                    <a:lnTo>
                      <a:pt x="1428" y="1646"/>
                    </a:lnTo>
                    <a:lnTo>
                      <a:pt x="1417" y="1660"/>
                    </a:lnTo>
                    <a:lnTo>
                      <a:pt x="1405" y="1674"/>
                    </a:lnTo>
                    <a:lnTo>
                      <a:pt x="1391" y="1688"/>
                    </a:lnTo>
                    <a:lnTo>
                      <a:pt x="1376" y="1700"/>
                    </a:lnTo>
                    <a:lnTo>
                      <a:pt x="1359" y="1709"/>
                    </a:lnTo>
                    <a:lnTo>
                      <a:pt x="1341" y="1718"/>
                    </a:lnTo>
                    <a:lnTo>
                      <a:pt x="1323" y="1725"/>
                    </a:lnTo>
                    <a:lnTo>
                      <a:pt x="668" y="1927"/>
                    </a:lnTo>
                    <a:lnTo>
                      <a:pt x="649" y="1932"/>
                    </a:lnTo>
                    <a:lnTo>
                      <a:pt x="628" y="1936"/>
                    </a:lnTo>
                    <a:lnTo>
                      <a:pt x="609" y="1937"/>
                    </a:lnTo>
                    <a:lnTo>
                      <a:pt x="590" y="1936"/>
                    </a:lnTo>
                    <a:lnTo>
                      <a:pt x="571" y="1932"/>
                    </a:lnTo>
                    <a:lnTo>
                      <a:pt x="553" y="1928"/>
                    </a:lnTo>
                    <a:lnTo>
                      <a:pt x="535" y="1922"/>
                    </a:lnTo>
                    <a:lnTo>
                      <a:pt x="518" y="1913"/>
                    </a:lnTo>
                    <a:lnTo>
                      <a:pt x="502" y="1904"/>
                    </a:lnTo>
                    <a:lnTo>
                      <a:pt x="487" y="1893"/>
                    </a:lnTo>
                    <a:lnTo>
                      <a:pt x="472" y="1880"/>
                    </a:lnTo>
                    <a:lnTo>
                      <a:pt x="459" y="1866"/>
                    </a:lnTo>
                    <a:lnTo>
                      <a:pt x="448" y="1851"/>
                    </a:lnTo>
                    <a:lnTo>
                      <a:pt x="438" y="1835"/>
                    </a:lnTo>
                    <a:lnTo>
                      <a:pt x="430" y="1817"/>
                    </a:lnTo>
                    <a:lnTo>
                      <a:pt x="422" y="1797"/>
                    </a:lnTo>
                    <a:lnTo>
                      <a:pt x="8" y="456"/>
                    </a:lnTo>
                    <a:lnTo>
                      <a:pt x="3" y="436"/>
                    </a:lnTo>
                    <a:lnTo>
                      <a:pt x="1" y="417"/>
                    </a:lnTo>
                    <a:lnTo>
                      <a:pt x="0" y="398"/>
                    </a:lnTo>
                    <a:lnTo>
                      <a:pt x="1" y="379"/>
                    </a:lnTo>
                    <a:lnTo>
                      <a:pt x="3" y="360"/>
                    </a:lnTo>
                    <a:lnTo>
                      <a:pt x="8" y="342"/>
                    </a:lnTo>
                    <a:lnTo>
                      <a:pt x="14" y="324"/>
                    </a:lnTo>
                    <a:lnTo>
                      <a:pt x="22" y="307"/>
                    </a:lnTo>
                    <a:lnTo>
                      <a:pt x="31" y="291"/>
                    </a:lnTo>
                    <a:lnTo>
                      <a:pt x="43" y="275"/>
                    </a:lnTo>
                    <a:lnTo>
                      <a:pt x="55" y="261"/>
                    </a:lnTo>
                    <a:lnTo>
                      <a:pt x="70" y="248"/>
                    </a:lnTo>
                    <a:lnTo>
                      <a:pt x="85" y="237"/>
                    </a:lnTo>
                    <a:lnTo>
                      <a:pt x="102" y="226"/>
                    </a:lnTo>
                    <a:lnTo>
                      <a:pt x="119" y="218"/>
                    </a:lnTo>
                    <a:lnTo>
                      <a:pt x="138" y="2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104" name="Freeform 12"/>
              <p:cNvSpPr>
                <a:spLocks/>
              </p:cNvSpPr>
              <p:nvPr/>
            </p:nvSpPr>
            <p:spPr bwMode="auto">
              <a:xfrm>
                <a:off x="4877949" y="5008321"/>
                <a:ext cx="69770" cy="91762"/>
              </a:xfrm>
              <a:custGeom>
                <a:avLst/>
                <a:gdLst/>
                <a:ahLst/>
                <a:cxnLst>
                  <a:cxn ang="0">
                    <a:pos x="668" y="8"/>
                  </a:cxn>
                  <a:cxn ang="0">
                    <a:pos x="629" y="1"/>
                  </a:cxn>
                  <a:cxn ang="0">
                    <a:pos x="591" y="1"/>
                  </a:cxn>
                  <a:cxn ang="0">
                    <a:pos x="554" y="8"/>
                  </a:cxn>
                  <a:cxn ang="0">
                    <a:pos x="519" y="22"/>
                  </a:cxn>
                  <a:cxn ang="0">
                    <a:pos x="487" y="43"/>
                  </a:cxn>
                  <a:cxn ang="0">
                    <a:pos x="461" y="70"/>
                  </a:cxn>
                  <a:cxn ang="0">
                    <a:pos x="438" y="102"/>
                  </a:cxn>
                  <a:cxn ang="0">
                    <a:pos x="423" y="138"/>
                  </a:cxn>
                  <a:cxn ang="0">
                    <a:pos x="4" y="1499"/>
                  </a:cxn>
                  <a:cxn ang="0">
                    <a:pos x="0" y="1538"/>
                  </a:cxn>
                  <a:cxn ang="0">
                    <a:pos x="4" y="1575"/>
                  </a:cxn>
                  <a:cxn ang="0">
                    <a:pos x="15" y="1612"/>
                  </a:cxn>
                  <a:cxn ang="0">
                    <a:pos x="33" y="1646"/>
                  </a:cxn>
                  <a:cxn ang="0">
                    <a:pos x="56" y="1674"/>
                  </a:cxn>
                  <a:cxn ang="0">
                    <a:pos x="85" y="1700"/>
                  </a:cxn>
                  <a:cxn ang="0">
                    <a:pos x="120" y="1718"/>
                  </a:cxn>
                  <a:cxn ang="0">
                    <a:pos x="793" y="1927"/>
                  </a:cxn>
                  <a:cxn ang="0">
                    <a:pos x="832" y="1936"/>
                  </a:cxn>
                  <a:cxn ang="0">
                    <a:pos x="870" y="1936"/>
                  </a:cxn>
                  <a:cxn ang="0">
                    <a:pos x="908" y="1928"/>
                  </a:cxn>
                  <a:cxn ang="0">
                    <a:pos x="943" y="1913"/>
                  </a:cxn>
                  <a:cxn ang="0">
                    <a:pos x="973" y="1893"/>
                  </a:cxn>
                  <a:cxn ang="0">
                    <a:pos x="1001" y="1866"/>
                  </a:cxn>
                  <a:cxn ang="0">
                    <a:pos x="1022" y="1835"/>
                  </a:cxn>
                  <a:cxn ang="0">
                    <a:pos x="1038" y="1797"/>
                  </a:cxn>
                  <a:cxn ang="0">
                    <a:pos x="1458" y="436"/>
                  </a:cxn>
                  <a:cxn ang="0">
                    <a:pos x="1461" y="398"/>
                  </a:cxn>
                  <a:cxn ang="0">
                    <a:pos x="1458" y="360"/>
                  </a:cxn>
                  <a:cxn ang="0">
                    <a:pos x="1446" y="324"/>
                  </a:cxn>
                  <a:cxn ang="0">
                    <a:pos x="1429" y="291"/>
                  </a:cxn>
                  <a:cxn ang="0">
                    <a:pos x="1405" y="261"/>
                  </a:cxn>
                  <a:cxn ang="0">
                    <a:pos x="1376" y="237"/>
                  </a:cxn>
                  <a:cxn ang="0">
                    <a:pos x="1342" y="218"/>
                  </a:cxn>
                </a:cxnLst>
                <a:rect l="0" t="0" r="r" b="b"/>
                <a:pathLst>
                  <a:path w="1461" h="1937">
                    <a:moveTo>
                      <a:pt x="1323" y="211"/>
                    </a:moveTo>
                    <a:lnTo>
                      <a:pt x="668" y="8"/>
                    </a:lnTo>
                    <a:lnTo>
                      <a:pt x="649" y="4"/>
                    </a:lnTo>
                    <a:lnTo>
                      <a:pt x="629" y="1"/>
                    </a:lnTo>
                    <a:lnTo>
                      <a:pt x="610" y="0"/>
                    </a:lnTo>
                    <a:lnTo>
                      <a:pt x="591" y="1"/>
                    </a:lnTo>
                    <a:lnTo>
                      <a:pt x="572" y="4"/>
                    </a:lnTo>
                    <a:lnTo>
                      <a:pt x="554" y="8"/>
                    </a:lnTo>
                    <a:lnTo>
                      <a:pt x="536" y="15"/>
                    </a:lnTo>
                    <a:lnTo>
                      <a:pt x="519" y="22"/>
                    </a:lnTo>
                    <a:lnTo>
                      <a:pt x="503" y="32"/>
                    </a:lnTo>
                    <a:lnTo>
                      <a:pt x="487" y="43"/>
                    </a:lnTo>
                    <a:lnTo>
                      <a:pt x="473" y="56"/>
                    </a:lnTo>
                    <a:lnTo>
                      <a:pt x="461" y="70"/>
                    </a:lnTo>
                    <a:lnTo>
                      <a:pt x="449" y="85"/>
                    </a:lnTo>
                    <a:lnTo>
                      <a:pt x="438" y="102"/>
                    </a:lnTo>
                    <a:lnTo>
                      <a:pt x="430" y="119"/>
                    </a:lnTo>
                    <a:lnTo>
                      <a:pt x="423" y="138"/>
                    </a:lnTo>
                    <a:lnTo>
                      <a:pt x="8" y="1480"/>
                    </a:lnTo>
                    <a:lnTo>
                      <a:pt x="4" y="1499"/>
                    </a:lnTo>
                    <a:lnTo>
                      <a:pt x="1" y="1519"/>
                    </a:lnTo>
                    <a:lnTo>
                      <a:pt x="0" y="1538"/>
                    </a:lnTo>
                    <a:lnTo>
                      <a:pt x="1" y="1557"/>
                    </a:lnTo>
                    <a:lnTo>
                      <a:pt x="4" y="1575"/>
                    </a:lnTo>
                    <a:lnTo>
                      <a:pt x="8" y="1595"/>
                    </a:lnTo>
                    <a:lnTo>
                      <a:pt x="15" y="1612"/>
                    </a:lnTo>
                    <a:lnTo>
                      <a:pt x="23" y="1629"/>
                    </a:lnTo>
                    <a:lnTo>
                      <a:pt x="33" y="1646"/>
                    </a:lnTo>
                    <a:lnTo>
                      <a:pt x="43" y="1660"/>
                    </a:lnTo>
                    <a:lnTo>
                      <a:pt x="56" y="1674"/>
                    </a:lnTo>
                    <a:lnTo>
                      <a:pt x="70" y="1688"/>
                    </a:lnTo>
                    <a:lnTo>
                      <a:pt x="85" y="1700"/>
                    </a:lnTo>
                    <a:lnTo>
                      <a:pt x="102" y="1709"/>
                    </a:lnTo>
                    <a:lnTo>
                      <a:pt x="120" y="1718"/>
                    </a:lnTo>
                    <a:lnTo>
                      <a:pt x="138" y="1725"/>
                    </a:lnTo>
                    <a:lnTo>
                      <a:pt x="793" y="1927"/>
                    </a:lnTo>
                    <a:lnTo>
                      <a:pt x="812" y="1932"/>
                    </a:lnTo>
                    <a:lnTo>
                      <a:pt x="832" y="1936"/>
                    </a:lnTo>
                    <a:lnTo>
                      <a:pt x="851" y="1937"/>
                    </a:lnTo>
                    <a:lnTo>
                      <a:pt x="870" y="1936"/>
                    </a:lnTo>
                    <a:lnTo>
                      <a:pt x="890" y="1932"/>
                    </a:lnTo>
                    <a:lnTo>
                      <a:pt x="908" y="1928"/>
                    </a:lnTo>
                    <a:lnTo>
                      <a:pt x="926" y="1922"/>
                    </a:lnTo>
                    <a:lnTo>
                      <a:pt x="943" y="1913"/>
                    </a:lnTo>
                    <a:lnTo>
                      <a:pt x="959" y="1904"/>
                    </a:lnTo>
                    <a:lnTo>
                      <a:pt x="973" y="1893"/>
                    </a:lnTo>
                    <a:lnTo>
                      <a:pt x="987" y="1880"/>
                    </a:lnTo>
                    <a:lnTo>
                      <a:pt x="1001" y="1866"/>
                    </a:lnTo>
                    <a:lnTo>
                      <a:pt x="1013" y="1851"/>
                    </a:lnTo>
                    <a:lnTo>
                      <a:pt x="1022" y="1835"/>
                    </a:lnTo>
                    <a:lnTo>
                      <a:pt x="1031" y="1817"/>
                    </a:lnTo>
                    <a:lnTo>
                      <a:pt x="1038" y="1797"/>
                    </a:lnTo>
                    <a:lnTo>
                      <a:pt x="1452" y="456"/>
                    </a:lnTo>
                    <a:lnTo>
                      <a:pt x="1458" y="436"/>
                    </a:lnTo>
                    <a:lnTo>
                      <a:pt x="1460" y="417"/>
                    </a:lnTo>
                    <a:lnTo>
                      <a:pt x="1461" y="398"/>
                    </a:lnTo>
                    <a:lnTo>
                      <a:pt x="1460" y="379"/>
                    </a:lnTo>
                    <a:lnTo>
                      <a:pt x="1458" y="360"/>
                    </a:lnTo>
                    <a:lnTo>
                      <a:pt x="1452" y="342"/>
                    </a:lnTo>
                    <a:lnTo>
                      <a:pt x="1446" y="324"/>
                    </a:lnTo>
                    <a:lnTo>
                      <a:pt x="1439" y="307"/>
                    </a:lnTo>
                    <a:lnTo>
                      <a:pt x="1429" y="291"/>
                    </a:lnTo>
                    <a:lnTo>
                      <a:pt x="1417" y="275"/>
                    </a:lnTo>
                    <a:lnTo>
                      <a:pt x="1405" y="261"/>
                    </a:lnTo>
                    <a:lnTo>
                      <a:pt x="1391" y="248"/>
                    </a:lnTo>
                    <a:lnTo>
                      <a:pt x="1376" y="237"/>
                    </a:lnTo>
                    <a:lnTo>
                      <a:pt x="1360" y="226"/>
                    </a:lnTo>
                    <a:lnTo>
                      <a:pt x="1342" y="218"/>
                    </a:lnTo>
                    <a:lnTo>
                      <a:pt x="1323" y="2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105" name="Freeform 13"/>
              <p:cNvSpPr>
                <a:spLocks noEditPoints="1"/>
              </p:cNvSpPr>
              <p:nvPr/>
            </p:nvSpPr>
            <p:spPr bwMode="auto">
              <a:xfrm>
                <a:off x="4848373" y="4886982"/>
                <a:ext cx="753819" cy="478530"/>
              </a:xfrm>
              <a:custGeom>
                <a:avLst/>
                <a:gdLst/>
                <a:ahLst/>
                <a:cxnLst>
                  <a:cxn ang="0">
                    <a:pos x="2975" y="306"/>
                  </a:cxn>
                  <a:cxn ang="0">
                    <a:pos x="3001" y="224"/>
                  </a:cxn>
                  <a:cxn ang="0">
                    <a:pos x="3041" y="151"/>
                  </a:cxn>
                  <a:cxn ang="0">
                    <a:pos x="3090" y="90"/>
                  </a:cxn>
                  <a:cxn ang="0">
                    <a:pos x="3152" y="42"/>
                  </a:cxn>
                  <a:cxn ang="0">
                    <a:pos x="3224" y="11"/>
                  </a:cxn>
                  <a:cxn ang="0">
                    <a:pos x="3306" y="0"/>
                  </a:cxn>
                  <a:cxn ang="0">
                    <a:pos x="12152" y="7"/>
                  </a:cxn>
                  <a:cxn ang="0">
                    <a:pos x="12224" y="35"/>
                  </a:cxn>
                  <a:cxn ang="0">
                    <a:pos x="12285" y="80"/>
                  </a:cxn>
                  <a:cxn ang="0">
                    <a:pos x="12335" y="140"/>
                  </a:cxn>
                  <a:cxn ang="0">
                    <a:pos x="12403" y="274"/>
                  </a:cxn>
                  <a:cxn ang="0">
                    <a:pos x="15584" y="5262"/>
                  </a:cxn>
                  <a:cxn ang="0">
                    <a:pos x="15667" y="5277"/>
                  </a:cxn>
                  <a:cxn ang="0">
                    <a:pos x="15742" y="5311"/>
                  </a:cxn>
                  <a:cxn ang="0">
                    <a:pos x="15806" y="5360"/>
                  </a:cxn>
                  <a:cxn ang="0">
                    <a:pos x="15856" y="5425"/>
                  </a:cxn>
                  <a:cxn ang="0">
                    <a:pos x="15890" y="5500"/>
                  </a:cxn>
                  <a:cxn ang="0">
                    <a:pos x="15905" y="5584"/>
                  </a:cxn>
                  <a:cxn ang="0">
                    <a:pos x="15901" y="8622"/>
                  </a:cxn>
                  <a:cxn ang="0">
                    <a:pos x="15879" y="8703"/>
                  </a:cxn>
                  <a:cxn ang="0">
                    <a:pos x="15838" y="8774"/>
                  </a:cxn>
                  <a:cxn ang="0">
                    <a:pos x="15781" y="8832"/>
                  </a:cxn>
                  <a:cxn ang="0">
                    <a:pos x="15713" y="8877"/>
                  </a:cxn>
                  <a:cxn ang="0">
                    <a:pos x="15635" y="8904"/>
                  </a:cxn>
                  <a:cxn ang="0">
                    <a:pos x="10285" y="8910"/>
                  </a:cxn>
                  <a:cxn ang="0">
                    <a:pos x="322" y="8910"/>
                  </a:cxn>
                  <a:cxn ang="0">
                    <a:pos x="239" y="8895"/>
                  </a:cxn>
                  <a:cxn ang="0">
                    <a:pos x="164" y="8861"/>
                  </a:cxn>
                  <a:cxn ang="0">
                    <a:pos x="100" y="8810"/>
                  </a:cxn>
                  <a:cxn ang="0">
                    <a:pos x="49" y="8746"/>
                  </a:cxn>
                  <a:cxn ang="0">
                    <a:pos x="15" y="8672"/>
                  </a:cxn>
                  <a:cxn ang="0">
                    <a:pos x="0" y="8588"/>
                  </a:cxn>
                  <a:cxn ang="0">
                    <a:pos x="4" y="5550"/>
                  </a:cxn>
                  <a:cxn ang="0">
                    <a:pos x="27" y="5469"/>
                  </a:cxn>
                  <a:cxn ang="0">
                    <a:pos x="68" y="5398"/>
                  </a:cxn>
                  <a:cxn ang="0">
                    <a:pos x="124" y="5339"/>
                  </a:cxn>
                  <a:cxn ang="0">
                    <a:pos x="192" y="5295"/>
                  </a:cxn>
                  <a:cxn ang="0">
                    <a:pos x="271" y="5268"/>
                  </a:cxn>
                  <a:cxn ang="0">
                    <a:pos x="4317" y="1018"/>
                  </a:cxn>
                  <a:cxn ang="0">
                    <a:pos x="11304" y="1023"/>
                  </a:cxn>
                  <a:cxn ang="0">
                    <a:pos x="11358" y="1045"/>
                  </a:cxn>
                  <a:cxn ang="0">
                    <a:pos x="11426" y="1116"/>
                  </a:cxn>
                  <a:cxn ang="0">
                    <a:pos x="11471" y="1213"/>
                  </a:cxn>
                  <a:cxn ang="0">
                    <a:pos x="12401" y="4398"/>
                  </a:cxn>
                  <a:cxn ang="0">
                    <a:pos x="12392" y="4448"/>
                  </a:cxn>
                  <a:cxn ang="0">
                    <a:pos x="12366" y="4494"/>
                  </a:cxn>
                  <a:cxn ang="0">
                    <a:pos x="12309" y="4543"/>
                  </a:cxn>
                  <a:cxn ang="0">
                    <a:pos x="12213" y="4580"/>
                  </a:cxn>
                  <a:cxn ang="0">
                    <a:pos x="3713" y="4582"/>
                  </a:cxn>
                  <a:cxn ang="0">
                    <a:pos x="3658" y="4572"/>
                  </a:cxn>
                  <a:cxn ang="0">
                    <a:pos x="3588" y="4539"/>
                  </a:cxn>
                  <a:cxn ang="0">
                    <a:pos x="3548" y="4503"/>
                  </a:cxn>
                  <a:cxn ang="0">
                    <a:pos x="3519" y="4458"/>
                  </a:cxn>
                  <a:cxn ang="0">
                    <a:pos x="3506" y="4410"/>
                  </a:cxn>
                  <a:cxn ang="0">
                    <a:pos x="4101" y="1234"/>
                  </a:cxn>
                  <a:cxn ang="0">
                    <a:pos x="4138" y="1132"/>
                  </a:cxn>
                  <a:cxn ang="0">
                    <a:pos x="4202" y="1056"/>
                  </a:cxn>
                  <a:cxn ang="0">
                    <a:pos x="4265" y="1025"/>
                  </a:cxn>
                  <a:cxn ang="0">
                    <a:pos x="4317" y="1018"/>
                  </a:cxn>
                  <a:cxn ang="0">
                    <a:pos x="1336" y="7722"/>
                  </a:cxn>
                  <a:cxn ang="0">
                    <a:pos x="11346" y="7722"/>
                  </a:cxn>
                </a:cxnLst>
                <a:rect l="0" t="0" r="r" b="b"/>
                <a:pathLst>
                  <a:path w="15906" h="10098">
                    <a:moveTo>
                      <a:pt x="339" y="5262"/>
                    </a:moveTo>
                    <a:lnTo>
                      <a:pt x="2034" y="5262"/>
                    </a:lnTo>
                    <a:lnTo>
                      <a:pt x="2967" y="340"/>
                    </a:lnTo>
                    <a:lnTo>
                      <a:pt x="2970" y="323"/>
                    </a:lnTo>
                    <a:lnTo>
                      <a:pt x="2975" y="306"/>
                    </a:lnTo>
                    <a:lnTo>
                      <a:pt x="2979" y="289"/>
                    </a:lnTo>
                    <a:lnTo>
                      <a:pt x="2984" y="272"/>
                    </a:lnTo>
                    <a:lnTo>
                      <a:pt x="2990" y="256"/>
                    </a:lnTo>
                    <a:lnTo>
                      <a:pt x="2995" y="240"/>
                    </a:lnTo>
                    <a:lnTo>
                      <a:pt x="3001" y="224"/>
                    </a:lnTo>
                    <a:lnTo>
                      <a:pt x="3009" y="209"/>
                    </a:lnTo>
                    <a:lnTo>
                      <a:pt x="3016" y="194"/>
                    </a:lnTo>
                    <a:lnTo>
                      <a:pt x="3024" y="179"/>
                    </a:lnTo>
                    <a:lnTo>
                      <a:pt x="3032" y="165"/>
                    </a:lnTo>
                    <a:lnTo>
                      <a:pt x="3041" y="151"/>
                    </a:lnTo>
                    <a:lnTo>
                      <a:pt x="3050" y="138"/>
                    </a:lnTo>
                    <a:lnTo>
                      <a:pt x="3060" y="125"/>
                    </a:lnTo>
                    <a:lnTo>
                      <a:pt x="3069" y="112"/>
                    </a:lnTo>
                    <a:lnTo>
                      <a:pt x="3080" y="100"/>
                    </a:lnTo>
                    <a:lnTo>
                      <a:pt x="3090" y="90"/>
                    </a:lnTo>
                    <a:lnTo>
                      <a:pt x="3102" y="78"/>
                    </a:lnTo>
                    <a:lnTo>
                      <a:pt x="3114" y="69"/>
                    </a:lnTo>
                    <a:lnTo>
                      <a:pt x="3127" y="59"/>
                    </a:lnTo>
                    <a:lnTo>
                      <a:pt x="3138" y="49"/>
                    </a:lnTo>
                    <a:lnTo>
                      <a:pt x="3152" y="42"/>
                    </a:lnTo>
                    <a:lnTo>
                      <a:pt x="3166" y="34"/>
                    </a:lnTo>
                    <a:lnTo>
                      <a:pt x="3180" y="27"/>
                    </a:lnTo>
                    <a:lnTo>
                      <a:pt x="3193" y="21"/>
                    </a:lnTo>
                    <a:lnTo>
                      <a:pt x="3208" y="15"/>
                    </a:lnTo>
                    <a:lnTo>
                      <a:pt x="3224" y="11"/>
                    </a:lnTo>
                    <a:lnTo>
                      <a:pt x="3239" y="7"/>
                    </a:lnTo>
                    <a:lnTo>
                      <a:pt x="3256" y="4"/>
                    </a:lnTo>
                    <a:lnTo>
                      <a:pt x="3272" y="2"/>
                    </a:lnTo>
                    <a:lnTo>
                      <a:pt x="3289" y="1"/>
                    </a:lnTo>
                    <a:lnTo>
                      <a:pt x="3306" y="0"/>
                    </a:lnTo>
                    <a:lnTo>
                      <a:pt x="12087" y="0"/>
                    </a:lnTo>
                    <a:lnTo>
                      <a:pt x="12104" y="1"/>
                    </a:lnTo>
                    <a:lnTo>
                      <a:pt x="12121" y="2"/>
                    </a:lnTo>
                    <a:lnTo>
                      <a:pt x="12137" y="4"/>
                    </a:lnTo>
                    <a:lnTo>
                      <a:pt x="12152" y="7"/>
                    </a:lnTo>
                    <a:lnTo>
                      <a:pt x="12167" y="11"/>
                    </a:lnTo>
                    <a:lnTo>
                      <a:pt x="12182" y="15"/>
                    </a:lnTo>
                    <a:lnTo>
                      <a:pt x="12197" y="22"/>
                    </a:lnTo>
                    <a:lnTo>
                      <a:pt x="12211" y="28"/>
                    </a:lnTo>
                    <a:lnTo>
                      <a:pt x="12224" y="35"/>
                    </a:lnTo>
                    <a:lnTo>
                      <a:pt x="12237" y="43"/>
                    </a:lnTo>
                    <a:lnTo>
                      <a:pt x="12249" y="52"/>
                    </a:lnTo>
                    <a:lnTo>
                      <a:pt x="12262" y="60"/>
                    </a:lnTo>
                    <a:lnTo>
                      <a:pt x="12274" y="70"/>
                    </a:lnTo>
                    <a:lnTo>
                      <a:pt x="12285" y="80"/>
                    </a:lnTo>
                    <a:lnTo>
                      <a:pt x="12296" y="91"/>
                    </a:lnTo>
                    <a:lnTo>
                      <a:pt x="12306" y="103"/>
                    </a:lnTo>
                    <a:lnTo>
                      <a:pt x="12316" y="114"/>
                    </a:lnTo>
                    <a:lnTo>
                      <a:pt x="12326" y="127"/>
                    </a:lnTo>
                    <a:lnTo>
                      <a:pt x="12335" y="140"/>
                    </a:lnTo>
                    <a:lnTo>
                      <a:pt x="12345" y="154"/>
                    </a:lnTo>
                    <a:lnTo>
                      <a:pt x="12362" y="181"/>
                    </a:lnTo>
                    <a:lnTo>
                      <a:pt x="12377" y="211"/>
                    </a:lnTo>
                    <a:lnTo>
                      <a:pt x="12390" y="242"/>
                    </a:lnTo>
                    <a:lnTo>
                      <a:pt x="12403" y="274"/>
                    </a:lnTo>
                    <a:lnTo>
                      <a:pt x="12415" y="306"/>
                    </a:lnTo>
                    <a:lnTo>
                      <a:pt x="12425" y="340"/>
                    </a:lnTo>
                    <a:lnTo>
                      <a:pt x="13868" y="5262"/>
                    </a:lnTo>
                    <a:lnTo>
                      <a:pt x="15566" y="5262"/>
                    </a:lnTo>
                    <a:lnTo>
                      <a:pt x="15584" y="5262"/>
                    </a:lnTo>
                    <a:lnTo>
                      <a:pt x="15601" y="5263"/>
                    </a:lnTo>
                    <a:lnTo>
                      <a:pt x="15618" y="5265"/>
                    </a:lnTo>
                    <a:lnTo>
                      <a:pt x="15635" y="5268"/>
                    </a:lnTo>
                    <a:lnTo>
                      <a:pt x="15651" y="5272"/>
                    </a:lnTo>
                    <a:lnTo>
                      <a:pt x="15667" y="5277"/>
                    </a:lnTo>
                    <a:lnTo>
                      <a:pt x="15683" y="5282"/>
                    </a:lnTo>
                    <a:lnTo>
                      <a:pt x="15697" y="5288"/>
                    </a:lnTo>
                    <a:lnTo>
                      <a:pt x="15713" y="5295"/>
                    </a:lnTo>
                    <a:lnTo>
                      <a:pt x="15727" y="5302"/>
                    </a:lnTo>
                    <a:lnTo>
                      <a:pt x="15742" y="5311"/>
                    </a:lnTo>
                    <a:lnTo>
                      <a:pt x="15756" y="5319"/>
                    </a:lnTo>
                    <a:lnTo>
                      <a:pt x="15769" y="5329"/>
                    </a:lnTo>
                    <a:lnTo>
                      <a:pt x="15781" y="5339"/>
                    </a:lnTo>
                    <a:lnTo>
                      <a:pt x="15794" y="5350"/>
                    </a:lnTo>
                    <a:lnTo>
                      <a:pt x="15806" y="5360"/>
                    </a:lnTo>
                    <a:lnTo>
                      <a:pt x="15817" y="5373"/>
                    </a:lnTo>
                    <a:lnTo>
                      <a:pt x="15828" y="5385"/>
                    </a:lnTo>
                    <a:lnTo>
                      <a:pt x="15838" y="5398"/>
                    </a:lnTo>
                    <a:lnTo>
                      <a:pt x="15847" y="5411"/>
                    </a:lnTo>
                    <a:lnTo>
                      <a:pt x="15856" y="5425"/>
                    </a:lnTo>
                    <a:lnTo>
                      <a:pt x="15864" y="5439"/>
                    </a:lnTo>
                    <a:lnTo>
                      <a:pt x="15872" y="5454"/>
                    </a:lnTo>
                    <a:lnTo>
                      <a:pt x="15879" y="5469"/>
                    </a:lnTo>
                    <a:lnTo>
                      <a:pt x="15884" y="5485"/>
                    </a:lnTo>
                    <a:lnTo>
                      <a:pt x="15890" y="5500"/>
                    </a:lnTo>
                    <a:lnTo>
                      <a:pt x="15895" y="5517"/>
                    </a:lnTo>
                    <a:lnTo>
                      <a:pt x="15898" y="5533"/>
                    </a:lnTo>
                    <a:lnTo>
                      <a:pt x="15901" y="5550"/>
                    </a:lnTo>
                    <a:lnTo>
                      <a:pt x="15903" y="5567"/>
                    </a:lnTo>
                    <a:lnTo>
                      <a:pt x="15905" y="5584"/>
                    </a:lnTo>
                    <a:lnTo>
                      <a:pt x="15906" y="5601"/>
                    </a:lnTo>
                    <a:lnTo>
                      <a:pt x="15906" y="8571"/>
                    </a:lnTo>
                    <a:lnTo>
                      <a:pt x="15905" y="8588"/>
                    </a:lnTo>
                    <a:lnTo>
                      <a:pt x="15903" y="8605"/>
                    </a:lnTo>
                    <a:lnTo>
                      <a:pt x="15901" y="8622"/>
                    </a:lnTo>
                    <a:lnTo>
                      <a:pt x="15898" y="8639"/>
                    </a:lnTo>
                    <a:lnTo>
                      <a:pt x="15895" y="8655"/>
                    </a:lnTo>
                    <a:lnTo>
                      <a:pt x="15890" y="8672"/>
                    </a:lnTo>
                    <a:lnTo>
                      <a:pt x="15884" y="8687"/>
                    </a:lnTo>
                    <a:lnTo>
                      <a:pt x="15879" y="8703"/>
                    </a:lnTo>
                    <a:lnTo>
                      <a:pt x="15872" y="8718"/>
                    </a:lnTo>
                    <a:lnTo>
                      <a:pt x="15864" y="8733"/>
                    </a:lnTo>
                    <a:lnTo>
                      <a:pt x="15856" y="8746"/>
                    </a:lnTo>
                    <a:lnTo>
                      <a:pt x="15847" y="8760"/>
                    </a:lnTo>
                    <a:lnTo>
                      <a:pt x="15838" y="8774"/>
                    </a:lnTo>
                    <a:lnTo>
                      <a:pt x="15828" y="8787"/>
                    </a:lnTo>
                    <a:lnTo>
                      <a:pt x="15817" y="8798"/>
                    </a:lnTo>
                    <a:lnTo>
                      <a:pt x="15806" y="8810"/>
                    </a:lnTo>
                    <a:lnTo>
                      <a:pt x="15794" y="8822"/>
                    </a:lnTo>
                    <a:lnTo>
                      <a:pt x="15781" y="8832"/>
                    </a:lnTo>
                    <a:lnTo>
                      <a:pt x="15769" y="8843"/>
                    </a:lnTo>
                    <a:lnTo>
                      <a:pt x="15756" y="8853"/>
                    </a:lnTo>
                    <a:lnTo>
                      <a:pt x="15742" y="8861"/>
                    </a:lnTo>
                    <a:lnTo>
                      <a:pt x="15727" y="8870"/>
                    </a:lnTo>
                    <a:lnTo>
                      <a:pt x="15713" y="8877"/>
                    </a:lnTo>
                    <a:lnTo>
                      <a:pt x="15697" y="8883"/>
                    </a:lnTo>
                    <a:lnTo>
                      <a:pt x="15683" y="8890"/>
                    </a:lnTo>
                    <a:lnTo>
                      <a:pt x="15667" y="8895"/>
                    </a:lnTo>
                    <a:lnTo>
                      <a:pt x="15651" y="8899"/>
                    </a:lnTo>
                    <a:lnTo>
                      <a:pt x="15635" y="8904"/>
                    </a:lnTo>
                    <a:lnTo>
                      <a:pt x="15618" y="8907"/>
                    </a:lnTo>
                    <a:lnTo>
                      <a:pt x="15601" y="8909"/>
                    </a:lnTo>
                    <a:lnTo>
                      <a:pt x="15584" y="8910"/>
                    </a:lnTo>
                    <a:lnTo>
                      <a:pt x="15566" y="8910"/>
                    </a:lnTo>
                    <a:lnTo>
                      <a:pt x="10285" y="8910"/>
                    </a:lnTo>
                    <a:lnTo>
                      <a:pt x="10285" y="10098"/>
                    </a:lnTo>
                    <a:lnTo>
                      <a:pt x="5620" y="10098"/>
                    </a:lnTo>
                    <a:lnTo>
                      <a:pt x="5620" y="8910"/>
                    </a:lnTo>
                    <a:lnTo>
                      <a:pt x="339" y="8910"/>
                    </a:lnTo>
                    <a:lnTo>
                      <a:pt x="322" y="8910"/>
                    </a:lnTo>
                    <a:lnTo>
                      <a:pt x="305" y="8909"/>
                    </a:lnTo>
                    <a:lnTo>
                      <a:pt x="288" y="8907"/>
                    </a:lnTo>
                    <a:lnTo>
                      <a:pt x="271" y="8904"/>
                    </a:lnTo>
                    <a:lnTo>
                      <a:pt x="255" y="8899"/>
                    </a:lnTo>
                    <a:lnTo>
                      <a:pt x="239" y="8895"/>
                    </a:lnTo>
                    <a:lnTo>
                      <a:pt x="223" y="8890"/>
                    </a:lnTo>
                    <a:lnTo>
                      <a:pt x="207" y="8883"/>
                    </a:lnTo>
                    <a:lnTo>
                      <a:pt x="192" y="8877"/>
                    </a:lnTo>
                    <a:lnTo>
                      <a:pt x="177" y="8870"/>
                    </a:lnTo>
                    <a:lnTo>
                      <a:pt x="164" y="8861"/>
                    </a:lnTo>
                    <a:lnTo>
                      <a:pt x="150" y="8853"/>
                    </a:lnTo>
                    <a:lnTo>
                      <a:pt x="137" y="8843"/>
                    </a:lnTo>
                    <a:lnTo>
                      <a:pt x="124" y="8832"/>
                    </a:lnTo>
                    <a:lnTo>
                      <a:pt x="112" y="8822"/>
                    </a:lnTo>
                    <a:lnTo>
                      <a:pt x="100" y="8810"/>
                    </a:lnTo>
                    <a:lnTo>
                      <a:pt x="88" y="8798"/>
                    </a:lnTo>
                    <a:lnTo>
                      <a:pt x="78" y="8787"/>
                    </a:lnTo>
                    <a:lnTo>
                      <a:pt x="68" y="8774"/>
                    </a:lnTo>
                    <a:lnTo>
                      <a:pt x="58" y="8760"/>
                    </a:lnTo>
                    <a:lnTo>
                      <a:pt x="49" y="8746"/>
                    </a:lnTo>
                    <a:lnTo>
                      <a:pt x="41" y="8733"/>
                    </a:lnTo>
                    <a:lnTo>
                      <a:pt x="34" y="8718"/>
                    </a:lnTo>
                    <a:lnTo>
                      <a:pt x="27" y="8703"/>
                    </a:lnTo>
                    <a:lnTo>
                      <a:pt x="20" y="8687"/>
                    </a:lnTo>
                    <a:lnTo>
                      <a:pt x="15" y="8672"/>
                    </a:lnTo>
                    <a:lnTo>
                      <a:pt x="11" y="8655"/>
                    </a:lnTo>
                    <a:lnTo>
                      <a:pt x="6" y="8639"/>
                    </a:lnTo>
                    <a:lnTo>
                      <a:pt x="4" y="8622"/>
                    </a:lnTo>
                    <a:lnTo>
                      <a:pt x="2" y="8605"/>
                    </a:lnTo>
                    <a:lnTo>
                      <a:pt x="0" y="8588"/>
                    </a:lnTo>
                    <a:lnTo>
                      <a:pt x="0" y="8571"/>
                    </a:lnTo>
                    <a:lnTo>
                      <a:pt x="0" y="5601"/>
                    </a:lnTo>
                    <a:lnTo>
                      <a:pt x="0" y="5584"/>
                    </a:lnTo>
                    <a:lnTo>
                      <a:pt x="2" y="5567"/>
                    </a:lnTo>
                    <a:lnTo>
                      <a:pt x="4" y="5550"/>
                    </a:lnTo>
                    <a:lnTo>
                      <a:pt x="6" y="5533"/>
                    </a:lnTo>
                    <a:lnTo>
                      <a:pt x="11" y="5517"/>
                    </a:lnTo>
                    <a:lnTo>
                      <a:pt x="15" y="5500"/>
                    </a:lnTo>
                    <a:lnTo>
                      <a:pt x="20" y="5485"/>
                    </a:lnTo>
                    <a:lnTo>
                      <a:pt x="27" y="5469"/>
                    </a:lnTo>
                    <a:lnTo>
                      <a:pt x="34" y="5454"/>
                    </a:lnTo>
                    <a:lnTo>
                      <a:pt x="41" y="5439"/>
                    </a:lnTo>
                    <a:lnTo>
                      <a:pt x="49" y="5425"/>
                    </a:lnTo>
                    <a:lnTo>
                      <a:pt x="58" y="5411"/>
                    </a:lnTo>
                    <a:lnTo>
                      <a:pt x="68" y="5398"/>
                    </a:lnTo>
                    <a:lnTo>
                      <a:pt x="78" y="5385"/>
                    </a:lnTo>
                    <a:lnTo>
                      <a:pt x="88" y="5373"/>
                    </a:lnTo>
                    <a:lnTo>
                      <a:pt x="100" y="5360"/>
                    </a:lnTo>
                    <a:lnTo>
                      <a:pt x="112" y="5350"/>
                    </a:lnTo>
                    <a:lnTo>
                      <a:pt x="124" y="5339"/>
                    </a:lnTo>
                    <a:lnTo>
                      <a:pt x="137" y="5329"/>
                    </a:lnTo>
                    <a:lnTo>
                      <a:pt x="150" y="5319"/>
                    </a:lnTo>
                    <a:lnTo>
                      <a:pt x="164" y="5311"/>
                    </a:lnTo>
                    <a:lnTo>
                      <a:pt x="177" y="5302"/>
                    </a:lnTo>
                    <a:lnTo>
                      <a:pt x="192" y="5295"/>
                    </a:lnTo>
                    <a:lnTo>
                      <a:pt x="207" y="5288"/>
                    </a:lnTo>
                    <a:lnTo>
                      <a:pt x="223" y="5282"/>
                    </a:lnTo>
                    <a:lnTo>
                      <a:pt x="239" y="5277"/>
                    </a:lnTo>
                    <a:lnTo>
                      <a:pt x="255" y="5272"/>
                    </a:lnTo>
                    <a:lnTo>
                      <a:pt x="271" y="5268"/>
                    </a:lnTo>
                    <a:lnTo>
                      <a:pt x="288" y="5265"/>
                    </a:lnTo>
                    <a:lnTo>
                      <a:pt x="305" y="5263"/>
                    </a:lnTo>
                    <a:lnTo>
                      <a:pt x="322" y="5262"/>
                    </a:lnTo>
                    <a:lnTo>
                      <a:pt x="339" y="5262"/>
                    </a:lnTo>
                    <a:close/>
                    <a:moveTo>
                      <a:pt x="4317" y="1018"/>
                    </a:moveTo>
                    <a:lnTo>
                      <a:pt x="11261" y="1018"/>
                    </a:lnTo>
                    <a:lnTo>
                      <a:pt x="11273" y="1018"/>
                    </a:lnTo>
                    <a:lnTo>
                      <a:pt x="11284" y="1019"/>
                    </a:lnTo>
                    <a:lnTo>
                      <a:pt x="11293" y="1021"/>
                    </a:lnTo>
                    <a:lnTo>
                      <a:pt x="11304" y="1023"/>
                    </a:lnTo>
                    <a:lnTo>
                      <a:pt x="11313" y="1026"/>
                    </a:lnTo>
                    <a:lnTo>
                      <a:pt x="11323" y="1028"/>
                    </a:lnTo>
                    <a:lnTo>
                      <a:pt x="11333" y="1032"/>
                    </a:lnTo>
                    <a:lnTo>
                      <a:pt x="11341" y="1036"/>
                    </a:lnTo>
                    <a:lnTo>
                      <a:pt x="11358" y="1045"/>
                    </a:lnTo>
                    <a:lnTo>
                      <a:pt x="11374" y="1057"/>
                    </a:lnTo>
                    <a:lnTo>
                      <a:pt x="11388" y="1069"/>
                    </a:lnTo>
                    <a:lnTo>
                      <a:pt x="11402" y="1083"/>
                    </a:lnTo>
                    <a:lnTo>
                      <a:pt x="11414" y="1099"/>
                    </a:lnTo>
                    <a:lnTo>
                      <a:pt x="11426" y="1116"/>
                    </a:lnTo>
                    <a:lnTo>
                      <a:pt x="11437" y="1134"/>
                    </a:lnTo>
                    <a:lnTo>
                      <a:pt x="11446" y="1152"/>
                    </a:lnTo>
                    <a:lnTo>
                      <a:pt x="11456" y="1172"/>
                    </a:lnTo>
                    <a:lnTo>
                      <a:pt x="11464" y="1193"/>
                    </a:lnTo>
                    <a:lnTo>
                      <a:pt x="11471" y="1213"/>
                    </a:lnTo>
                    <a:lnTo>
                      <a:pt x="11478" y="1234"/>
                    </a:lnTo>
                    <a:lnTo>
                      <a:pt x="12396" y="4366"/>
                    </a:lnTo>
                    <a:lnTo>
                      <a:pt x="12398" y="4377"/>
                    </a:lnTo>
                    <a:lnTo>
                      <a:pt x="12400" y="4387"/>
                    </a:lnTo>
                    <a:lnTo>
                      <a:pt x="12401" y="4398"/>
                    </a:lnTo>
                    <a:lnTo>
                      <a:pt x="12401" y="4409"/>
                    </a:lnTo>
                    <a:lnTo>
                      <a:pt x="12400" y="4418"/>
                    </a:lnTo>
                    <a:lnTo>
                      <a:pt x="12398" y="4429"/>
                    </a:lnTo>
                    <a:lnTo>
                      <a:pt x="12396" y="4438"/>
                    </a:lnTo>
                    <a:lnTo>
                      <a:pt x="12392" y="4448"/>
                    </a:lnTo>
                    <a:lnTo>
                      <a:pt x="12388" y="4457"/>
                    </a:lnTo>
                    <a:lnTo>
                      <a:pt x="12384" y="4467"/>
                    </a:lnTo>
                    <a:lnTo>
                      <a:pt x="12379" y="4475"/>
                    </a:lnTo>
                    <a:lnTo>
                      <a:pt x="12373" y="4484"/>
                    </a:lnTo>
                    <a:lnTo>
                      <a:pt x="12366" y="4494"/>
                    </a:lnTo>
                    <a:lnTo>
                      <a:pt x="12360" y="4501"/>
                    </a:lnTo>
                    <a:lnTo>
                      <a:pt x="12352" y="4509"/>
                    </a:lnTo>
                    <a:lnTo>
                      <a:pt x="12345" y="4517"/>
                    </a:lnTo>
                    <a:lnTo>
                      <a:pt x="12327" y="4531"/>
                    </a:lnTo>
                    <a:lnTo>
                      <a:pt x="12309" y="4543"/>
                    </a:lnTo>
                    <a:lnTo>
                      <a:pt x="12288" y="4555"/>
                    </a:lnTo>
                    <a:lnTo>
                      <a:pt x="12268" y="4565"/>
                    </a:lnTo>
                    <a:lnTo>
                      <a:pt x="12246" y="4572"/>
                    </a:lnTo>
                    <a:lnTo>
                      <a:pt x="12224" y="4577"/>
                    </a:lnTo>
                    <a:lnTo>
                      <a:pt x="12213" y="4580"/>
                    </a:lnTo>
                    <a:lnTo>
                      <a:pt x="12201" y="4581"/>
                    </a:lnTo>
                    <a:lnTo>
                      <a:pt x="12191" y="4582"/>
                    </a:lnTo>
                    <a:lnTo>
                      <a:pt x="12179" y="4583"/>
                    </a:lnTo>
                    <a:lnTo>
                      <a:pt x="3723" y="4583"/>
                    </a:lnTo>
                    <a:lnTo>
                      <a:pt x="3713" y="4582"/>
                    </a:lnTo>
                    <a:lnTo>
                      <a:pt x="3701" y="4582"/>
                    </a:lnTo>
                    <a:lnTo>
                      <a:pt x="3690" y="4580"/>
                    </a:lnTo>
                    <a:lnTo>
                      <a:pt x="3680" y="4577"/>
                    </a:lnTo>
                    <a:lnTo>
                      <a:pt x="3668" y="4575"/>
                    </a:lnTo>
                    <a:lnTo>
                      <a:pt x="3658" y="4572"/>
                    </a:lnTo>
                    <a:lnTo>
                      <a:pt x="3647" y="4569"/>
                    </a:lnTo>
                    <a:lnTo>
                      <a:pt x="3636" y="4565"/>
                    </a:lnTo>
                    <a:lnTo>
                      <a:pt x="3616" y="4556"/>
                    </a:lnTo>
                    <a:lnTo>
                      <a:pt x="3597" y="4545"/>
                    </a:lnTo>
                    <a:lnTo>
                      <a:pt x="3588" y="4539"/>
                    </a:lnTo>
                    <a:lnTo>
                      <a:pt x="3579" y="4532"/>
                    </a:lnTo>
                    <a:lnTo>
                      <a:pt x="3570" y="4525"/>
                    </a:lnTo>
                    <a:lnTo>
                      <a:pt x="3563" y="4518"/>
                    </a:lnTo>
                    <a:lnTo>
                      <a:pt x="3556" y="4511"/>
                    </a:lnTo>
                    <a:lnTo>
                      <a:pt x="3548" y="4503"/>
                    </a:lnTo>
                    <a:lnTo>
                      <a:pt x="3542" y="4495"/>
                    </a:lnTo>
                    <a:lnTo>
                      <a:pt x="3535" y="4486"/>
                    </a:lnTo>
                    <a:lnTo>
                      <a:pt x="3529" y="4478"/>
                    </a:lnTo>
                    <a:lnTo>
                      <a:pt x="3524" y="4468"/>
                    </a:lnTo>
                    <a:lnTo>
                      <a:pt x="3519" y="4458"/>
                    </a:lnTo>
                    <a:lnTo>
                      <a:pt x="3515" y="4449"/>
                    </a:lnTo>
                    <a:lnTo>
                      <a:pt x="3512" y="4439"/>
                    </a:lnTo>
                    <a:lnTo>
                      <a:pt x="3509" y="4430"/>
                    </a:lnTo>
                    <a:lnTo>
                      <a:pt x="3507" y="4419"/>
                    </a:lnTo>
                    <a:lnTo>
                      <a:pt x="3506" y="4410"/>
                    </a:lnTo>
                    <a:lnTo>
                      <a:pt x="3505" y="4399"/>
                    </a:lnTo>
                    <a:lnTo>
                      <a:pt x="3505" y="4388"/>
                    </a:lnTo>
                    <a:lnTo>
                      <a:pt x="3506" y="4378"/>
                    </a:lnTo>
                    <a:lnTo>
                      <a:pt x="3508" y="4366"/>
                    </a:lnTo>
                    <a:lnTo>
                      <a:pt x="4101" y="1234"/>
                    </a:lnTo>
                    <a:lnTo>
                      <a:pt x="4106" y="1213"/>
                    </a:lnTo>
                    <a:lnTo>
                      <a:pt x="4112" y="1192"/>
                    </a:lnTo>
                    <a:lnTo>
                      <a:pt x="4119" y="1171"/>
                    </a:lnTo>
                    <a:lnTo>
                      <a:pt x="4128" y="1151"/>
                    </a:lnTo>
                    <a:lnTo>
                      <a:pt x="4138" y="1132"/>
                    </a:lnTo>
                    <a:lnTo>
                      <a:pt x="4148" y="1114"/>
                    </a:lnTo>
                    <a:lnTo>
                      <a:pt x="4160" y="1098"/>
                    </a:lnTo>
                    <a:lnTo>
                      <a:pt x="4174" y="1082"/>
                    </a:lnTo>
                    <a:lnTo>
                      <a:pt x="4187" y="1068"/>
                    </a:lnTo>
                    <a:lnTo>
                      <a:pt x="4202" y="1056"/>
                    </a:lnTo>
                    <a:lnTo>
                      <a:pt x="4219" y="1045"/>
                    </a:lnTo>
                    <a:lnTo>
                      <a:pt x="4236" y="1035"/>
                    </a:lnTo>
                    <a:lnTo>
                      <a:pt x="4246" y="1031"/>
                    </a:lnTo>
                    <a:lnTo>
                      <a:pt x="4255" y="1028"/>
                    </a:lnTo>
                    <a:lnTo>
                      <a:pt x="4265" y="1025"/>
                    </a:lnTo>
                    <a:lnTo>
                      <a:pt x="4275" y="1023"/>
                    </a:lnTo>
                    <a:lnTo>
                      <a:pt x="4285" y="1021"/>
                    </a:lnTo>
                    <a:lnTo>
                      <a:pt x="4296" y="1019"/>
                    </a:lnTo>
                    <a:lnTo>
                      <a:pt x="4306" y="1018"/>
                    </a:lnTo>
                    <a:lnTo>
                      <a:pt x="4317" y="1018"/>
                    </a:lnTo>
                    <a:close/>
                    <a:moveTo>
                      <a:pt x="1336" y="6492"/>
                    </a:moveTo>
                    <a:lnTo>
                      <a:pt x="2863" y="6492"/>
                    </a:lnTo>
                    <a:lnTo>
                      <a:pt x="4559" y="7256"/>
                    </a:lnTo>
                    <a:lnTo>
                      <a:pt x="4559" y="7722"/>
                    </a:lnTo>
                    <a:lnTo>
                      <a:pt x="1336" y="7722"/>
                    </a:lnTo>
                    <a:lnTo>
                      <a:pt x="1336" y="6492"/>
                    </a:lnTo>
                    <a:close/>
                    <a:moveTo>
                      <a:pt x="14570" y="6492"/>
                    </a:moveTo>
                    <a:lnTo>
                      <a:pt x="13042" y="6492"/>
                    </a:lnTo>
                    <a:lnTo>
                      <a:pt x="11346" y="7256"/>
                    </a:lnTo>
                    <a:lnTo>
                      <a:pt x="11346" y="7722"/>
                    </a:lnTo>
                    <a:lnTo>
                      <a:pt x="14570" y="7722"/>
                    </a:lnTo>
                    <a:lnTo>
                      <a:pt x="14570" y="64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106" name="Freeform 14"/>
              <p:cNvSpPr>
                <a:spLocks noEditPoints="1"/>
              </p:cNvSpPr>
              <p:nvPr/>
            </p:nvSpPr>
            <p:spPr bwMode="auto">
              <a:xfrm>
                <a:off x="4917384" y="5351862"/>
                <a:ext cx="630205" cy="96313"/>
              </a:xfrm>
              <a:custGeom>
                <a:avLst/>
                <a:gdLst/>
                <a:ahLst/>
                <a:cxnLst>
                  <a:cxn ang="0">
                    <a:pos x="12764" y="0"/>
                  </a:cxn>
                  <a:cxn ang="0">
                    <a:pos x="13297" y="1019"/>
                  </a:cxn>
                  <a:cxn ang="0">
                    <a:pos x="13258" y="1395"/>
                  </a:cxn>
                  <a:cxn ang="0">
                    <a:pos x="13232" y="1500"/>
                  </a:cxn>
                  <a:cxn ang="0">
                    <a:pos x="13199" y="1599"/>
                  </a:cxn>
                  <a:cxn ang="0">
                    <a:pos x="13162" y="1691"/>
                  </a:cxn>
                  <a:cxn ang="0">
                    <a:pos x="13118" y="1772"/>
                  </a:cxn>
                  <a:cxn ang="0">
                    <a:pos x="13072" y="1846"/>
                  </a:cxn>
                  <a:cxn ang="0">
                    <a:pos x="13019" y="1908"/>
                  </a:cxn>
                  <a:cxn ang="0">
                    <a:pos x="12963" y="1959"/>
                  </a:cxn>
                  <a:cxn ang="0">
                    <a:pos x="12905" y="1998"/>
                  </a:cxn>
                  <a:cxn ang="0">
                    <a:pos x="12843" y="2024"/>
                  </a:cxn>
                  <a:cxn ang="0">
                    <a:pos x="12779" y="2036"/>
                  </a:cxn>
                  <a:cxn ang="0">
                    <a:pos x="10104" y="2036"/>
                  </a:cxn>
                  <a:cxn ang="0">
                    <a:pos x="10040" y="2024"/>
                  </a:cxn>
                  <a:cxn ang="0">
                    <a:pos x="9978" y="1998"/>
                  </a:cxn>
                  <a:cxn ang="0">
                    <a:pos x="9920" y="1959"/>
                  </a:cxn>
                  <a:cxn ang="0">
                    <a:pos x="9864" y="1908"/>
                  </a:cxn>
                  <a:cxn ang="0">
                    <a:pos x="9812" y="1846"/>
                  </a:cxn>
                  <a:cxn ang="0">
                    <a:pos x="9764" y="1772"/>
                  </a:cxn>
                  <a:cxn ang="0">
                    <a:pos x="9722" y="1691"/>
                  </a:cxn>
                  <a:cxn ang="0">
                    <a:pos x="9684" y="1599"/>
                  </a:cxn>
                  <a:cxn ang="0">
                    <a:pos x="9652" y="1500"/>
                  </a:cxn>
                  <a:cxn ang="0">
                    <a:pos x="9625" y="1395"/>
                  </a:cxn>
                  <a:cxn ang="0">
                    <a:pos x="9586" y="1019"/>
                  </a:cxn>
                  <a:cxn ang="0">
                    <a:pos x="10119" y="0"/>
                  </a:cxn>
                  <a:cxn ang="0">
                    <a:pos x="3172" y="0"/>
                  </a:cxn>
                  <a:cxn ang="0">
                    <a:pos x="3711" y="0"/>
                  </a:cxn>
                  <a:cxn ang="0">
                    <a:pos x="3680" y="1358"/>
                  </a:cxn>
                  <a:cxn ang="0">
                    <a:pos x="3656" y="1466"/>
                  </a:cxn>
                  <a:cxn ang="0">
                    <a:pos x="3625" y="1567"/>
                  </a:cxn>
                  <a:cxn ang="0">
                    <a:pos x="3589" y="1661"/>
                  </a:cxn>
                  <a:cxn ang="0">
                    <a:pos x="3548" y="1746"/>
                  </a:cxn>
                  <a:cxn ang="0">
                    <a:pos x="3502" y="1822"/>
                  </a:cxn>
                  <a:cxn ang="0">
                    <a:pos x="3451" y="1888"/>
                  </a:cxn>
                  <a:cxn ang="0">
                    <a:pos x="3397" y="1944"/>
                  </a:cxn>
                  <a:cxn ang="0">
                    <a:pos x="3339" y="1986"/>
                  </a:cxn>
                  <a:cxn ang="0">
                    <a:pos x="3279" y="2017"/>
                  </a:cxn>
                  <a:cxn ang="0">
                    <a:pos x="3215" y="2034"/>
                  </a:cxn>
                  <a:cxn ang="0">
                    <a:pos x="540" y="2037"/>
                  </a:cxn>
                  <a:cxn ang="0">
                    <a:pos x="475" y="2030"/>
                  </a:cxn>
                  <a:cxn ang="0">
                    <a:pos x="412" y="2008"/>
                  </a:cxn>
                  <a:cxn ang="0">
                    <a:pos x="353" y="1973"/>
                  </a:cxn>
                  <a:cxn ang="0">
                    <a:pos x="297" y="1927"/>
                  </a:cxn>
                  <a:cxn ang="0">
                    <a:pos x="244" y="1867"/>
                  </a:cxn>
                  <a:cxn ang="0">
                    <a:pos x="194" y="1798"/>
                  </a:cxn>
                  <a:cxn ang="0">
                    <a:pos x="150" y="1719"/>
                  </a:cxn>
                  <a:cxn ang="0">
                    <a:pos x="110" y="1630"/>
                  </a:cxn>
                  <a:cxn ang="0">
                    <a:pos x="76" y="1534"/>
                  </a:cxn>
                  <a:cxn ang="0">
                    <a:pos x="47" y="1430"/>
                  </a:cxn>
                  <a:cxn ang="0">
                    <a:pos x="0" y="1358"/>
                  </a:cxn>
                  <a:cxn ang="0">
                    <a:pos x="527" y="0"/>
                  </a:cxn>
                </a:cxnLst>
                <a:rect l="0" t="0" r="r" b="b"/>
                <a:pathLst>
                  <a:path w="13297" h="2037">
                    <a:moveTo>
                      <a:pt x="10126" y="0"/>
                    </a:moveTo>
                    <a:lnTo>
                      <a:pt x="12757" y="0"/>
                    </a:lnTo>
                    <a:lnTo>
                      <a:pt x="12764" y="0"/>
                    </a:lnTo>
                    <a:lnTo>
                      <a:pt x="12771" y="0"/>
                    </a:lnTo>
                    <a:lnTo>
                      <a:pt x="13297" y="0"/>
                    </a:lnTo>
                    <a:lnTo>
                      <a:pt x="13297" y="1019"/>
                    </a:lnTo>
                    <a:lnTo>
                      <a:pt x="13297" y="1358"/>
                    </a:lnTo>
                    <a:lnTo>
                      <a:pt x="13266" y="1358"/>
                    </a:lnTo>
                    <a:lnTo>
                      <a:pt x="13258" y="1395"/>
                    </a:lnTo>
                    <a:lnTo>
                      <a:pt x="13250" y="1430"/>
                    </a:lnTo>
                    <a:lnTo>
                      <a:pt x="13241" y="1466"/>
                    </a:lnTo>
                    <a:lnTo>
                      <a:pt x="13232" y="1500"/>
                    </a:lnTo>
                    <a:lnTo>
                      <a:pt x="13221" y="1534"/>
                    </a:lnTo>
                    <a:lnTo>
                      <a:pt x="13211" y="1567"/>
                    </a:lnTo>
                    <a:lnTo>
                      <a:pt x="13199" y="1599"/>
                    </a:lnTo>
                    <a:lnTo>
                      <a:pt x="13187" y="1630"/>
                    </a:lnTo>
                    <a:lnTo>
                      <a:pt x="13175" y="1661"/>
                    </a:lnTo>
                    <a:lnTo>
                      <a:pt x="13162" y="1691"/>
                    </a:lnTo>
                    <a:lnTo>
                      <a:pt x="13148" y="1719"/>
                    </a:lnTo>
                    <a:lnTo>
                      <a:pt x="13133" y="1746"/>
                    </a:lnTo>
                    <a:lnTo>
                      <a:pt x="13118" y="1772"/>
                    </a:lnTo>
                    <a:lnTo>
                      <a:pt x="13103" y="1798"/>
                    </a:lnTo>
                    <a:lnTo>
                      <a:pt x="13087" y="1822"/>
                    </a:lnTo>
                    <a:lnTo>
                      <a:pt x="13072" y="1846"/>
                    </a:lnTo>
                    <a:lnTo>
                      <a:pt x="13055" y="1867"/>
                    </a:lnTo>
                    <a:lnTo>
                      <a:pt x="13036" y="1888"/>
                    </a:lnTo>
                    <a:lnTo>
                      <a:pt x="13019" y="1908"/>
                    </a:lnTo>
                    <a:lnTo>
                      <a:pt x="13001" y="1927"/>
                    </a:lnTo>
                    <a:lnTo>
                      <a:pt x="12982" y="1944"/>
                    </a:lnTo>
                    <a:lnTo>
                      <a:pt x="12963" y="1959"/>
                    </a:lnTo>
                    <a:lnTo>
                      <a:pt x="12944" y="1973"/>
                    </a:lnTo>
                    <a:lnTo>
                      <a:pt x="12925" y="1986"/>
                    </a:lnTo>
                    <a:lnTo>
                      <a:pt x="12905" y="1998"/>
                    </a:lnTo>
                    <a:lnTo>
                      <a:pt x="12885" y="2008"/>
                    </a:lnTo>
                    <a:lnTo>
                      <a:pt x="12864" y="2017"/>
                    </a:lnTo>
                    <a:lnTo>
                      <a:pt x="12843" y="2024"/>
                    </a:lnTo>
                    <a:lnTo>
                      <a:pt x="12822" y="2030"/>
                    </a:lnTo>
                    <a:lnTo>
                      <a:pt x="12801" y="2034"/>
                    </a:lnTo>
                    <a:lnTo>
                      <a:pt x="12779" y="2036"/>
                    </a:lnTo>
                    <a:lnTo>
                      <a:pt x="12757" y="2037"/>
                    </a:lnTo>
                    <a:lnTo>
                      <a:pt x="10126" y="2037"/>
                    </a:lnTo>
                    <a:lnTo>
                      <a:pt x="10104" y="2036"/>
                    </a:lnTo>
                    <a:lnTo>
                      <a:pt x="10082" y="2034"/>
                    </a:lnTo>
                    <a:lnTo>
                      <a:pt x="10061" y="2030"/>
                    </a:lnTo>
                    <a:lnTo>
                      <a:pt x="10040" y="2024"/>
                    </a:lnTo>
                    <a:lnTo>
                      <a:pt x="10019" y="2017"/>
                    </a:lnTo>
                    <a:lnTo>
                      <a:pt x="9998" y="2008"/>
                    </a:lnTo>
                    <a:lnTo>
                      <a:pt x="9978" y="1998"/>
                    </a:lnTo>
                    <a:lnTo>
                      <a:pt x="9958" y="1986"/>
                    </a:lnTo>
                    <a:lnTo>
                      <a:pt x="9939" y="1973"/>
                    </a:lnTo>
                    <a:lnTo>
                      <a:pt x="9920" y="1959"/>
                    </a:lnTo>
                    <a:lnTo>
                      <a:pt x="9900" y="1944"/>
                    </a:lnTo>
                    <a:lnTo>
                      <a:pt x="9882" y="1927"/>
                    </a:lnTo>
                    <a:lnTo>
                      <a:pt x="9864" y="1908"/>
                    </a:lnTo>
                    <a:lnTo>
                      <a:pt x="9846" y="1888"/>
                    </a:lnTo>
                    <a:lnTo>
                      <a:pt x="9829" y="1867"/>
                    </a:lnTo>
                    <a:lnTo>
                      <a:pt x="9812" y="1846"/>
                    </a:lnTo>
                    <a:lnTo>
                      <a:pt x="9795" y="1822"/>
                    </a:lnTo>
                    <a:lnTo>
                      <a:pt x="9779" y="1798"/>
                    </a:lnTo>
                    <a:lnTo>
                      <a:pt x="9764" y="1772"/>
                    </a:lnTo>
                    <a:lnTo>
                      <a:pt x="9750" y="1746"/>
                    </a:lnTo>
                    <a:lnTo>
                      <a:pt x="9736" y="1719"/>
                    </a:lnTo>
                    <a:lnTo>
                      <a:pt x="9722" y="1691"/>
                    </a:lnTo>
                    <a:lnTo>
                      <a:pt x="9708" y="1661"/>
                    </a:lnTo>
                    <a:lnTo>
                      <a:pt x="9695" y="1630"/>
                    </a:lnTo>
                    <a:lnTo>
                      <a:pt x="9684" y="1599"/>
                    </a:lnTo>
                    <a:lnTo>
                      <a:pt x="9672" y="1567"/>
                    </a:lnTo>
                    <a:lnTo>
                      <a:pt x="9661" y="1534"/>
                    </a:lnTo>
                    <a:lnTo>
                      <a:pt x="9652" y="1500"/>
                    </a:lnTo>
                    <a:lnTo>
                      <a:pt x="9642" y="1466"/>
                    </a:lnTo>
                    <a:lnTo>
                      <a:pt x="9633" y="1430"/>
                    </a:lnTo>
                    <a:lnTo>
                      <a:pt x="9625" y="1395"/>
                    </a:lnTo>
                    <a:lnTo>
                      <a:pt x="9618" y="1358"/>
                    </a:lnTo>
                    <a:lnTo>
                      <a:pt x="9586" y="1358"/>
                    </a:lnTo>
                    <a:lnTo>
                      <a:pt x="9586" y="1019"/>
                    </a:lnTo>
                    <a:lnTo>
                      <a:pt x="9586" y="0"/>
                    </a:lnTo>
                    <a:lnTo>
                      <a:pt x="10113" y="0"/>
                    </a:lnTo>
                    <a:lnTo>
                      <a:pt x="10119" y="0"/>
                    </a:lnTo>
                    <a:lnTo>
                      <a:pt x="10126" y="0"/>
                    </a:lnTo>
                    <a:close/>
                    <a:moveTo>
                      <a:pt x="540" y="0"/>
                    </a:moveTo>
                    <a:lnTo>
                      <a:pt x="3172" y="0"/>
                    </a:lnTo>
                    <a:lnTo>
                      <a:pt x="3178" y="0"/>
                    </a:lnTo>
                    <a:lnTo>
                      <a:pt x="3185" y="0"/>
                    </a:lnTo>
                    <a:lnTo>
                      <a:pt x="3711" y="0"/>
                    </a:lnTo>
                    <a:lnTo>
                      <a:pt x="3711" y="1019"/>
                    </a:lnTo>
                    <a:lnTo>
                      <a:pt x="3711" y="1358"/>
                    </a:lnTo>
                    <a:lnTo>
                      <a:pt x="3680" y="1358"/>
                    </a:lnTo>
                    <a:lnTo>
                      <a:pt x="3673" y="1395"/>
                    </a:lnTo>
                    <a:lnTo>
                      <a:pt x="3664" y="1430"/>
                    </a:lnTo>
                    <a:lnTo>
                      <a:pt x="3656" y="1466"/>
                    </a:lnTo>
                    <a:lnTo>
                      <a:pt x="3646" y="1500"/>
                    </a:lnTo>
                    <a:lnTo>
                      <a:pt x="3636" y="1534"/>
                    </a:lnTo>
                    <a:lnTo>
                      <a:pt x="3625" y="1567"/>
                    </a:lnTo>
                    <a:lnTo>
                      <a:pt x="3613" y="1599"/>
                    </a:lnTo>
                    <a:lnTo>
                      <a:pt x="3602" y="1630"/>
                    </a:lnTo>
                    <a:lnTo>
                      <a:pt x="3589" y="1661"/>
                    </a:lnTo>
                    <a:lnTo>
                      <a:pt x="3576" y="1691"/>
                    </a:lnTo>
                    <a:lnTo>
                      <a:pt x="3562" y="1719"/>
                    </a:lnTo>
                    <a:lnTo>
                      <a:pt x="3548" y="1746"/>
                    </a:lnTo>
                    <a:lnTo>
                      <a:pt x="3533" y="1772"/>
                    </a:lnTo>
                    <a:lnTo>
                      <a:pt x="3518" y="1798"/>
                    </a:lnTo>
                    <a:lnTo>
                      <a:pt x="3502" y="1822"/>
                    </a:lnTo>
                    <a:lnTo>
                      <a:pt x="3486" y="1846"/>
                    </a:lnTo>
                    <a:lnTo>
                      <a:pt x="3469" y="1867"/>
                    </a:lnTo>
                    <a:lnTo>
                      <a:pt x="3451" y="1888"/>
                    </a:lnTo>
                    <a:lnTo>
                      <a:pt x="3434" y="1908"/>
                    </a:lnTo>
                    <a:lnTo>
                      <a:pt x="3416" y="1927"/>
                    </a:lnTo>
                    <a:lnTo>
                      <a:pt x="3397" y="1944"/>
                    </a:lnTo>
                    <a:lnTo>
                      <a:pt x="3378" y="1959"/>
                    </a:lnTo>
                    <a:lnTo>
                      <a:pt x="3358" y="1973"/>
                    </a:lnTo>
                    <a:lnTo>
                      <a:pt x="3339" y="1986"/>
                    </a:lnTo>
                    <a:lnTo>
                      <a:pt x="3319" y="1998"/>
                    </a:lnTo>
                    <a:lnTo>
                      <a:pt x="3299" y="2008"/>
                    </a:lnTo>
                    <a:lnTo>
                      <a:pt x="3279" y="2017"/>
                    </a:lnTo>
                    <a:lnTo>
                      <a:pt x="3258" y="2024"/>
                    </a:lnTo>
                    <a:lnTo>
                      <a:pt x="3236" y="2030"/>
                    </a:lnTo>
                    <a:lnTo>
                      <a:pt x="3215" y="2034"/>
                    </a:lnTo>
                    <a:lnTo>
                      <a:pt x="3194" y="2036"/>
                    </a:lnTo>
                    <a:lnTo>
                      <a:pt x="3172" y="2037"/>
                    </a:lnTo>
                    <a:lnTo>
                      <a:pt x="540" y="2037"/>
                    </a:lnTo>
                    <a:lnTo>
                      <a:pt x="519" y="2036"/>
                    </a:lnTo>
                    <a:lnTo>
                      <a:pt x="496" y="2034"/>
                    </a:lnTo>
                    <a:lnTo>
                      <a:pt x="475" y="2030"/>
                    </a:lnTo>
                    <a:lnTo>
                      <a:pt x="454" y="2024"/>
                    </a:lnTo>
                    <a:lnTo>
                      <a:pt x="434" y="2017"/>
                    </a:lnTo>
                    <a:lnTo>
                      <a:pt x="412" y="2008"/>
                    </a:lnTo>
                    <a:lnTo>
                      <a:pt x="392" y="1998"/>
                    </a:lnTo>
                    <a:lnTo>
                      <a:pt x="372" y="1986"/>
                    </a:lnTo>
                    <a:lnTo>
                      <a:pt x="353" y="1973"/>
                    </a:lnTo>
                    <a:lnTo>
                      <a:pt x="334" y="1959"/>
                    </a:lnTo>
                    <a:lnTo>
                      <a:pt x="315" y="1944"/>
                    </a:lnTo>
                    <a:lnTo>
                      <a:pt x="297" y="1927"/>
                    </a:lnTo>
                    <a:lnTo>
                      <a:pt x="278" y="1908"/>
                    </a:lnTo>
                    <a:lnTo>
                      <a:pt x="261" y="1888"/>
                    </a:lnTo>
                    <a:lnTo>
                      <a:pt x="244" y="1867"/>
                    </a:lnTo>
                    <a:lnTo>
                      <a:pt x="227" y="1846"/>
                    </a:lnTo>
                    <a:lnTo>
                      <a:pt x="210" y="1822"/>
                    </a:lnTo>
                    <a:lnTo>
                      <a:pt x="194" y="1798"/>
                    </a:lnTo>
                    <a:lnTo>
                      <a:pt x="179" y="1772"/>
                    </a:lnTo>
                    <a:lnTo>
                      <a:pt x="164" y="1746"/>
                    </a:lnTo>
                    <a:lnTo>
                      <a:pt x="150" y="1719"/>
                    </a:lnTo>
                    <a:lnTo>
                      <a:pt x="136" y="1691"/>
                    </a:lnTo>
                    <a:lnTo>
                      <a:pt x="123" y="1661"/>
                    </a:lnTo>
                    <a:lnTo>
                      <a:pt x="110" y="1630"/>
                    </a:lnTo>
                    <a:lnTo>
                      <a:pt x="98" y="1599"/>
                    </a:lnTo>
                    <a:lnTo>
                      <a:pt x="86" y="1567"/>
                    </a:lnTo>
                    <a:lnTo>
                      <a:pt x="76" y="1534"/>
                    </a:lnTo>
                    <a:lnTo>
                      <a:pt x="66" y="1500"/>
                    </a:lnTo>
                    <a:lnTo>
                      <a:pt x="57" y="1466"/>
                    </a:lnTo>
                    <a:lnTo>
                      <a:pt x="47" y="1430"/>
                    </a:lnTo>
                    <a:lnTo>
                      <a:pt x="40" y="1395"/>
                    </a:lnTo>
                    <a:lnTo>
                      <a:pt x="32" y="1358"/>
                    </a:lnTo>
                    <a:lnTo>
                      <a:pt x="0" y="1358"/>
                    </a:lnTo>
                    <a:lnTo>
                      <a:pt x="0" y="1019"/>
                    </a:lnTo>
                    <a:lnTo>
                      <a:pt x="0" y="0"/>
                    </a:lnTo>
                    <a:lnTo>
                      <a:pt x="527" y="0"/>
                    </a:lnTo>
                    <a:lnTo>
                      <a:pt x="534" y="0"/>
                    </a:lnTo>
                    <a:lnTo>
                      <a:pt x="54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grpSp>
        <p:grpSp>
          <p:nvGrpSpPr>
            <p:cNvPr id="81" name="组合 569"/>
            <p:cNvGrpSpPr>
              <a:grpSpLocks noChangeAspect="1"/>
            </p:cNvGrpSpPr>
            <p:nvPr/>
          </p:nvGrpSpPr>
          <p:grpSpPr>
            <a:xfrm>
              <a:off x="3720511" y="894906"/>
              <a:ext cx="193159" cy="119535"/>
              <a:chOff x="4848373" y="4886982"/>
              <a:chExt cx="753819" cy="561193"/>
            </a:xfrm>
            <a:solidFill>
              <a:srgbClr val="1F497D">
                <a:lumMod val="60000"/>
                <a:lumOff val="40000"/>
              </a:srgbClr>
            </a:solidFill>
          </p:grpSpPr>
          <p:sp>
            <p:nvSpPr>
              <p:cNvPr id="97" name="Freeform 11"/>
              <p:cNvSpPr>
                <a:spLocks/>
              </p:cNvSpPr>
              <p:nvPr/>
            </p:nvSpPr>
            <p:spPr bwMode="auto">
              <a:xfrm>
                <a:off x="5503604" y="5008321"/>
                <a:ext cx="69012" cy="91762"/>
              </a:xfrm>
              <a:custGeom>
                <a:avLst/>
                <a:gdLst/>
                <a:ahLst/>
                <a:cxnLst>
                  <a:cxn ang="0">
                    <a:pos x="793" y="8"/>
                  </a:cxn>
                  <a:cxn ang="0">
                    <a:pos x="831" y="1"/>
                  </a:cxn>
                  <a:cxn ang="0">
                    <a:pos x="869" y="1"/>
                  </a:cxn>
                  <a:cxn ang="0">
                    <a:pos x="907" y="8"/>
                  </a:cxn>
                  <a:cxn ang="0">
                    <a:pos x="942" y="22"/>
                  </a:cxn>
                  <a:cxn ang="0">
                    <a:pos x="973" y="43"/>
                  </a:cxn>
                  <a:cxn ang="0">
                    <a:pos x="1000" y="70"/>
                  </a:cxn>
                  <a:cxn ang="0">
                    <a:pos x="1022" y="102"/>
                  </a:cxn>
                  <a:cxn ang="0">
                    <a:pos x="1037" y="138"/>
                  </a:cxn>
                  <a:cxn ang="0">
                    <a:pos x="1457" y="1499"/>
                  </a:cxn>
                  <a:cxn ang="0">
                    <a:pos x="1461" y="1538"/>
                  </a:cxn>
                  <a:cxn ang="0">
                    <a:pos x="1457" y="1575"/>
                  </a:cxn>
                  <a:cxn ang="0">
                    <a:pos x="1446" y="1612"/>
                  </a:cxn>
                  <a:cxn ang="0">
                    <a:pos x="1428" y="1646"/>
                  </a:cxn>
                  <a:cxn ang="0">
                    <a:pos x="1405" y="1674"/>
                  </a:cxn>
                  <a:cxn ang="0">
                    <a:pos x="1376" y="1700"/>
                  </a:cxn>
                  <a:cxn ang="0">
                    <a:pos x="1341" y="1718"/>
                  </a:cxn>
                  <a:cxn ang="0">
                    <a:pos x="668" y="1927"/>
                  </a:cxn>
                  <a:cxn ang="0">
                    <a:pos x="628" y="1936"/>
                  </a:cxn>
                  <a:cxn ang="0">
                    <a:pos x="590" y="1936"/>
                  </a:cxn>
                  <a:cxn ang="0">
                    <a:pos x="553" y="1928"/>
                  </a:cxn>
                  <a:cxn ang="0">
                    <a:pos x="518" y="1913"/>
                  </a:cxn>
                  <a:cxn ang="0">
                    <a:pos x="487" y="1893"/>
                  </a:cxn>
                  <a:cxn ang="0">
                    <a:pos x="459" y="1866"/>
                  </a:cxn>
                  <a:cxn ang="0">
                    <a:pos x="438" y="1835"/>
                  </a:cxn>
                  <a:cxn ang="0">
                    <a:pos x="422" y="1797"/>
                  </a:cxn>
                  <a:cxn ang="0">
                    <a:pos x="3" y="436"/>
                  </a:cxn>
                  <a:cxn ang="0">
                    <a:pos x="0" y="398"/>
                  </a:cxn>
                  <a:cxn ang="0">
                    <a:pos x="3" y="360"/>
                  </a:cxn>
                  <a:cxn ang="0">
                    <a:pos x="14" y="324"/>
                  </a:cxn>
                  <a:cxn ang="0">
                    <a:pos x="31" y="291"/>
                  </a:cxn>
                  <a:cxn ang="0">
                    <a:pos x="55" y="261"/>
                  </a:cxn>
                  <a:cxn ang="0">
                    <a:pos x="85" y="237"/>
                  </a:cxn>
                  <a:cxn ang="0">
                    <a:pos x="119" y="218"/>
                  </a:cxn>
                </a:cxnLst>
                <a:rect l="0" t="0" r="r" b="b"/>
                <a:pathLst>
                  <a:path w="1461" h="1937">
                    <a:moveTo>
                      <a:pt x="138" y="211"/>
                    </a:moveTo>
                    <a:lnTo>
                      <a:pt x="793" y="8"/>
                    </a:lnTo>
                    <a:lnTo>
                      <a:pt x="812" y="4"/>
                    </a:lnTo>
                    <a:lnTo>
                      <a:pt x="831" y="1"/>
                    </a:lnTo>
                    <a:lnTo>
                      <a:pt x="850" y="0"/>
                    </a:lnTo>
                    <a:lnTo>
                      <a:pt x="869" y="1"/>
                    </a:lnTo>
                    <a:lnTo>
                      <a:pt x="889" y="4"/>
                    </a:lnTo>
                    <a:lnTo>
                      <a:pt x="907" y="8"/>
                    </a:lnTo>
                    <a:lnTo>
                      <a:pt x="925" y="15"/>
                    </a:lnTo>
                    <a:lnTo>
                      <a:pt x="942" y="22"/>
                    </a:lnTo>
                    <a:lnTo>
                      <a:pt x="958" y="32"/>
                    </a:lnTo>
                    <a:lnTo>
                      <a:pt x="973" y="43"/>
                    </a:lnTo>
                    <a:lnTo>
                      <a:pt x="987" y="56"/>
                    </a:lnTo>
                    <a:lnTo>
                      <a:pt x="1000" y="70"/>
                    </a:lnTo>
                    <a:lnTo>
                      <a:pt x="1012" y="85"/>
                    </a:lnTo>
                    <a:lnTo>
                      <a:pt x="1022" y="102"/>
                    </a:lnTo>
                    <a:lnTo>
                      <a:pt x="1031" y="119"/>
                    </a:lnTo>
                    <a:lnTo>
                      <a:pt x="1037" y="138"/>
                    </a:lnTo>
                    <a:lnTo>
                      <a:pt x="1452" y="1480"/>
                    </a:lnTo>
                    <a:lnTo>
                      <a:pt x="1457" y="1499"/>
                    </a:lnTo>
                    <a:lnTo>
                      <a:pt x="1460" y="1519"/>
                    </a:lnTo>
                    <a:lnTo>
                      <a:pt x="1461" y="1538"/>
                    </a:lnTo>
                    <a:lnTo>
                      <a:pt x="1460" y="1557"/>
                    </a:lnTo>
                    <a:lnTo>
                      <a:pt x="1457" y="1575"/>
                    </a:lnTo>
                    <a:lnTo>
                      <a:pt x="1452" y="1595"/>
                    </a:lnTo>
                    <a:lnTo>
                      <a:pt x="1446" y="1612"/>
                    </a:lnTo>
                    <a:lnTo>
                      <a:pt x="1438" y="1629"/>
                    </a:lnTo>
                    <a:lnTo>
                      <a:pt x="1428" y="1646"/>
                    </a:lnTo>
                    <a:lnTo>
                      <a:pt x="1417" y="1660"/>
                    </a:lnTo>
                    <a:lnTo>
                      <a:pt x="1405" y="1674"/>
                    </a:lnTo>
                    <a:lnTo>
                      <a:pt x="1391" y="1688"/>
                    </a:lnTo>
                    <a:lnTo>
                      <a:pt x="1376" y="1700"/>
                    </a:lnTo>
                    <a:lnTo>
                      <a:pt x="1359" y="1709"/>
                    </a:lnTo>
                    <a:lnTo>
                      <a:pt x="1341" y="1718"/>
                    </a:lnTo>
                    <a:lnTo>
                      <a:pt x="1323" y="1725"/>
                    </a:lnTo>
                    <a:lnTo>
                      <a:pt x="668" y="1927"/>
                    </a:lnTo>
                    <a:lnTo>
                      <a:pt x="649" y="1932"/>
                    </a:lnTo>
                    <a:lnTo>
                      <a:pt x="628" y="1936"/>
                    </a:lnTo>
                    <a:lnTo>
                      <a:pt x="609" y="1937"/>
                    </a:lnTo>
                    <a:lnTo>
                      <a:pt x="590" y="1936"/>
                    </a:lnTo>
                    <a:lnTo>
                      <a:pt x="571" y="1932"/>
                    </a:lnTo>
                    <a:lnTo>
                      <a:pt x="553" y="1928"/>
                    </a:lnTo>
                    <a:lnTo>
                      <a:pt x="535" y="1922"/>
                    </a:lnTo>
                    <a:lnTo>
                      <a:pt x="518" y="1913"/>
                    </a:lnTo>
                    <a:lnTo>
                      <a:pt x="502" y="1904"/>
                    </a:lnTo>
                    <a:lnTo>
                      <a:pt x="487" y="1893"/>
                    </a:lnTo>
                    <a:lnTo>
                      <a:pt x="472" y="1880"/>
                    </a:lnTo>
                    <a:lnTo>
                      <a:pt x="459" y="1866"/>
                    </a:lnTo>
                    <a:lnTo>
                      <a:pt x="448" y="1851"/>
                    </a:lnTo>
                    <a:lnTo>
                      <a:pt x="438" y="1835"/>
                    </a:lnTo>
                    <a:lnTo>
                      <a:pt x="430" y="1817"/>
                    </a:lnTo>
                    <a:lnTo>
                      <a:pt x="422" y="1797"/>
                    </a:lnTo>
                    <a:lnTo>
                      <a:pt x="8" y="456"/>
                    </a:lnTo>
                    <a:lnTo>
                      <a:pt x="3" y="436"/>
                    </a:lnTo>
                    <a:lnTo>
                      <a:pt x="1" y="417"/>
                    </a:lnTo>
                    <a:lnTo>
                      <a:pt x="0" y="398"/>
                    </a:lnTo>
                    <a:lnTo>
                      <a:pt x="1" y="379"/>
                    </a:lnTo>
                    <a:lnTo>
                      <a:pt x="3" y="360"/>
                    </a:lnTo>
                    <a:lnTo>
                      <a:pt x="8" y="342"/>
                    </a:lnTo>
                    <a:lnTo>
                      <a:pt x="14" y="324"/>
                    </a:lnTo>
                    <a:lnTo>
                      <a:pt x="22" y="307"/>
                    </a:lnTo>
                    <a:lnTo>
                      <a:pt x="31" y="291"/>
                    </a:lnTo>
                    <a:lnTo>
                      <a:pt x="43" y="275"/>
                    </a:lnTo>
                    <a:lnTo>
                      <a:pt x="55" y="261"/>
                    </a:lnTo>
                    <a:lnTo>
                      <a:pt x="70" y="248"/>
                    </a:lnTo>
                    <a:lnTo>
                      <a:pt x="85" y="237"/>
                    </a:lnTo>
                    <a:lnTo>
                      <a:pt x="102" y="226"/>
                    </a:lnTo>
                    <a:lnTo>
                      <a:pt x="119" y="218"/>
                    </a:lnTo>
                    <a:lnTo>
                      <a:pt x="138" y="2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99" name="Freeform 12"/>
              <p:cNvSpPr>
                <a:spLocks/>
              </p:cNvSpPr>
              <p:nvPr/>
            </p:nvSpPr>
            <p:spPr bwMode="auto">
              <a:xfrm>
                <a:off x="4877949" y="5008321"/>
                <a:ext cx="69770" cy="91762"/>
              </a:xfrm>
              <a:custGeom>
                <a:avLst/>
                <a:gdLst/>
                <a:ahLst/>
                <a:cxnLst>
                  <a:cxn ang="0">
                    <a:pos x="668" y="8"/>
                  </a:cxn>
                  <a:cxn ang="0">
                    <a:pos x="629" y="1"/>
                  </a:cxn>
                  <a:cxn ang="0">
                    <a:pos x="591" y="1"/>
                  </a:cxn>
                  <a:cxn ang="0">
                    <a:pos x="554" y="8"/>
                  </a:cxn>
                  <a:cxn ang="0">
                    <a:pos x="519" y="22"/>
                  </a:cxn>
                  <a:cxn ang="0">
                    <a:pos x="487" y="43"/>
                  </a:cxn>
                  <a:cxn ang="0">
                    <a:pos x="461" y="70"/>
                  </a:cxn>
                  <a:cxn ang="0">
                    <a:pos x="438" y="102"/>
                  </a:cxn>
                  <a:cxn ang="0">
                    <a:pos x="423" y="138"/>
                  </a:cxn>
                  <a:cxn ang="0">
                    <a:pos x="4" y="1499"/>
                  </a:cxn>
                  <a:cxn ang="0">
                    <a:pos x="0" y="1538"/>
                  </a:cxn>
                  <a:cxn ang="0">
                    <a:pos x="4" y="1575"/>
                  </a:cxn>
                  <a:cxn ang="0">
                    <a:pos x="15" y="1612"/>
                  </a:cxn>
                  <a:cxn ang="0">
                    <a:pos x="33" y="1646"/>
                  </a:cxn>
                  <a:cxn ang="0">
                    <a:pos x="56" y="1674"/>
                  </a:cxn>
                  <a:cxn ang="0">
                    <a:pos x="85" y="1700"/>
                  </a:cxn>
                  <a:cxn ang="0">
                    <a:pos x="120" y="1718"/>
                  </a:cxn>
                  <a:cxn ang="0">
                    <a:pos x="793" y="1927"/>
                  </a:cxn>
                  <a:cxn ang="0">
                    <a:pos x="832" y="1936"/>
                  </a:cxn>
                  <a:cxn ang="0">
                    <a:pos x="870" y="1936"/>
                  </a:cxn>
                  <a:cxn ang="0">
                    <a:pos x="908" y="1928"/>
                  </a:cxn>
                  <a:cxn ang="0">
                    <a:pos x="943" y="1913"/>
                  </a:cxn>
                  <a:cxn ang="0">
                    <a:pos x="973" y="1893"/>
                  </a:cxn>
                  <a:cxn ang="0">
                    <a:pos x="1001" y="1866"/>
                  </a:cxn>
                  <a:cxn ang="0">
                    <a:pos x="1022" y="1835"/>
                  </a:cxn>
                  <a:cxn ang="0">
                    <a:pos x="1038" y="1797"/>
                  </a:cxn>
                  <a:cxn ang="0">
                    <a:pos x="1458" y="436"/>
                  </a:cxn>
                  <a:cxn ang="0">
                    <a:pos x="1461" y="398"/>
                  </a:cxn>
                  <a:cxn ang="0">
                    <a:pos x="1458" y="360"/>
                  </a:cxn>
                  <a:cxn ang="0">
                    <a:pos x="1446" y="324"/>
                  </a:cxn>
                  <a:cxn ang="0">
                    <a:pos x="1429" y="291"/>
                  </a:cxn>
                  <a:cxn ang="0">
                    <a:pos x="1405" y="261"/>
                  </a:cxn>
                  <a:cxn ang="0">
                    <a:pos x="1376" y="237"/>
                  </a:cxn>
                  <a:cxn ang="0">
                    <a:pos x="1342" y="218"/>
                  </a:cxn>
                </a:cxnLst>
                <a:rect l="0" t="0" r="r" b="b"/>
                <a:pathLst>
                  <a:path w="1461" h="1937">
                    <a:moveTo>
                      <a:pt x="1323" y="211"/>
                    </a:moveTo>
                    <a:lnTo>
                      <a:pt x="668" y="8"/>
                    </a:lnTo>
                    <a:lnTo>
                      <a:pt x="649" y="4"/>
                    </a:lnTo>
                    <a:lnTo>
                      <a:pt x="629" y="1"/>
                    </a:lnTo>
                    <a:lnTo>
                      <a:pt x="610" y="0"/>
                    </a:lnTo>
                    <a:lnTo>
                      <a:pt x="591" y="1"/>
                    </a:lnTo>
                    <a:lnTo>
                      <a:pt x="572" y="4"/>
                    </a:lnTo>
                    <a:lnTo>
                      <a:pt x="554" y="8"/>
                    </a:lnTo>
                    <a:lnTo>
                      <a:pt x="536" y="15"/>
                    </a:lnTo>
                    <a:lnTo>
                      <a:pt x="519" y="22"/>
                    </a:lnTo>
                    <a:lnTo>
                      <a:pt x="503" y="32"/>
                    </a:lnTo>
                    <a:lnTo>
                      <a:pt x="487" y="43"/>
                    </a:lnTo>
                    <a:lnTo>
                      <a:pt x="473" y="56"/>
                    </a:lnTo>
                    <a:lnTo>
                      <a:pt x="461" y="70"/>
                    </a:lnTo>
                    <a:lnTo>
                      <a:pt x="449" y="85"/>
                    </a:lnTo>
                    <a:lnTo>
                      <a:pt x="438" y="102"/>
                    </a:lnTo>
                    <a:lnTo>
                      <a:pt x="430" y="119"/>
                    </a:lnTo>
                    <a:lnTo>
                      <a:pt x="423" y="138"/>
                    </a:lnTo>
                    <a:lnTo>
                      <a:pt x="8" y="1480"/>
                    </a:lnTo>
                    <a:lnTo>
                      <a:pt x="4" y="1499"/>
                    </a:lnTo>
                    <a:lnTo>
                      <a:pt x="1" y="1519"/>
                    </a:lnTo>
                    <a:lnTo>
                      <a:pt x="0" y="1538"/>
                    </a:lnTo>
                    <a:lnTo>
                      <a:pt x="1" y="1557"/>
                    </a:lnTo>
                    <a:lnTo>
                      <a:pt x="4" y="1575"/>
                    </a:lnTo>
                    <a:lnTo>
                      <a:pt x="8" y="1595"/>
                    </a:lnTo>
                    <a:lnTo>
                      <a:pt x="15" y="1612"/>
                    </a:lnTo>
                    <a:lnTo>
                      <a:pt x="23" y="1629"/>
                    </a:lnTo>
                    <a:lnTo>
                      <a:pt x="33" y="1646"/>
                    </a:lnTo>
                    <a:lnTo>
                      <a:pt x="43" y="1660"/>
                    </a:lnTo>
                    <a:lnTo>
                      <a:pt x="56" y="1674"/>
                    </a:lnTo>
                    <a:lnTo>
                      <a:pt x="70" y="1688"/>
                    </a:lnTo>
                    <a:lnTo>
                      <a:pt x="85" y="1700"/>
                    </a:lnTo>
                    <a:lnTo>
                      <a:pt x="102" y="1709"/>
                    </a:lnTo>
                    <a:lnTo>
                      <a:pt x="120" y="1718"/>
                    </a:lnTo>
                    <a:lnTo>
                      <a:pt x="138" y="1725"/>
                    </a:lnTo>
                    <a:lnTo>
                      <a:pt x="793" y="1927"/>
                    </a:lnTo>
                    <a:lnTo>
                      <a:pt x="812" y="1932"/>
                    </a:lnTo>
                    <a:lnTo>
                      <a:pt x="832" y="1936"/>
                    </a:lnTo>
                    <a:lnTo>
                      <a:pt x="851" y="1937"/>
                    </a:lnTo>
                    <a:lnTo>
                      <a:pt x="870" y="1936"/>
                    </a:lnTo>
                    <a:lnTo>
                      <a:pt x="890" y="1932"/>
                    </a:lnTo>
                    <a:lnTo>
                      <a:pt x="908" y="1928"/>
                    </a:lnTo>
                    <a:lnTo>
                      <a:pt x="926" y="1922"/>
                    </a:lnTo>
                    <a:lnTo>
                      <a:pt x="943" y="1913"/>
                    </a:lnTo>
                    <a:lnTo>
                      <a:pt x="959" y="1904"/>
                    </a:lnTo>
                    <a:lnTo>
                      <a:pt x="973" y="1893"/>
                    </a:lnTo>
                    <a:lnTo>
                      <a:pt x="987" y="1880"/>
                    </a:lnTo>
                    <a:lnTo>
                      <a:pt x="1001" y="1866"/>
                    </a:lnTo>
                    <a:lnTo>
                      <a:pt x="1013" y="1851"/>
                    </a:lnTo>
                    <a:lnTo>
                      <a:pt x="1022" y="1835"/>
                    </a:lnTo>
                    <a:lnTo>
                      <a:pt x="1031" y="1817"/>
                    </a:lnTo>
                    <a:lnTo>
                      <a:pt x="1038" y="1797"/>
                    </a:lnTo>
                    <a:lnTo>
                      <a:pt x="1452" y="456"/>
                    </a:lnTo>
                    <a:lnTo>
                      <a:pt x="1458" y="436"/>
                    </a:lnTo>
                    <a:lnTo>
                      <a:pt x="1460" y="417"/>
                    </a:lnTo>
                    <a:lnTo>
                      <a:pt x="1461" y="398"/>
                    </a:lnTo>
                    <a:lnTo>
                      <a:pt x="1460" y="379"/>
                    </a:lnTo>
                    <a:lnTo>
                      <a:pt x="1458" y="360"/>
                    </a:lnTo>
                    <a:lnTo>
                      <a:pt x="1452" y="342"/>
                    </a:lnTo>
                    <a:lnTo>
                      <a:pt x="1446" y="324"/>
                    </a:lnTo>
                    <a:lnTo>
                      <a:pt x="1439" y="307"/>
                    </a:lnTo>
                    <a:lnTo>
                      <a:pt x="1429" y="291"/>
                    </a:lnTo>
                    <a:lnTo>
                      <a:pt x="1417" y="275"/>
                    </a:lnTo>
                    <a:lnTo>
                      <a:pt x="1405" y="261"/>
                    </a:lnTo>
                    <a:lnTo>
                      <a:pt x="1391" y="248"/>
                    </a:lnTo>
                    <a:lnTo>
                      <a:pt x="1376" y="237"/>
                    </a:lnTo>
                    <a:lnTo>
                      <a:pt x="1360" y="226"/>
                    </a:lnTo>
                    <a:lnTo>
                      <a:pt x="1342" y="218"/>
                    </a:lnTo>
                    <a:lnTo>
                      <a:pt x="1323" y="2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100" name="Freeform 13"/>
              <p:cNvSpPr>
                <a:spLocks noEditPoints="1"/>
              </p:cNvSpPr>
              <p:nvPr/>
            </p:nvSpPr>
            <p:spPr bwMode="auto">
              <a:xfrm>
                <a:off x="4848373" y="4886982"/>
                <a:ext cx="753819" cy="478530"/>
              </a:xfrm>
              <a:custGeom>
                <a:avLst/>
                <a:gdLst/>
                <a:ahLst/>
                <a:cxnLst>
                  <a:cxn ang="0">
                    <a:pos x="2975" y="306"/>
                  </a:cxn>
                  <a:cxn ang="0">
                    <a:pos x="3001" y="224"/>
                  </a:cxn>
                  <a:cxn ang="0">
                    <a:pos x="3041" y="151"/>
                  </a:cxn>
                  <a:cxn ang="0">
                    <a:pos x="3090" y="90"/>
                  </a:cxn>
                  <a:cxn ang="0">
                    <a:pos x="3152" y="42"/>
                  </a:cxn>
                  <a:cxn ang="0">
                    <a:pos x="3224" y="11"/>
                  </a:cxn>
                  <a:cxn ang="0">
                    <a:pos x="3306" y="0"/>
                  </a:cxn>
                  <a:cxn ang="0">
                    <a:pos x="12152" y="7"/>
                  </a:cxn>
                  <a:cxn ang="0">
                    <a:pos x="12224" y="35"/>
                  </a:cxn>
                  <a:cxn ang="0">
                    <a:pos x="12285" y="80"/>
                  </a:cxn>
                  <a:cxn ang="0">
                    <a:pos x="12335" y="140"/>
                  </a:cxn>
                  <a:cxn ang="0">
                    <a:pos x="12403" y="274"/>
                  </a:cxn>
                  <a:cxn ang="0">
                    <a:pos x="15584" y="5262"/>
                  </a:cxn>
                  <a:cxn ang="0">
                    <a:pos x="15667" y="5277"/>
                  </a:cxn>
                  <a:cxn ang="0">
                    <a:pos x="15742" y="5311"/>
                  </a:cxn>
                  <a:cxn ang="0">
                    <a:pos x="15806" y="5360"/>
                  </a:cxn>
                  <a:cxn ang="0">
                    <a:pos x="15856" y="5425"/>
                  </a:cxn>
                  <a:cxn ang="0">
                    <a:pos x="15890" y="5500"/>
                  </a:cxn>
                  <a:cxn ang="0">
                    <a:pos x="15905" y="5584"/>
                  </a:cxn>
                  <a:cxn ang="0">
                    <a:pos x="15901" y="8622"/>
                  </a:cxn>
                  <a:cxn ang="0">
                    <a:pos x="15879" y="8703"/>
                  </a:cxn>
                  <a:cxn ang="0">
                    <a:pos x="15838" y="8774"/>
                  </a:cxn>
                  <a:cxn ang="0">
                    <a:pos x="15781" y="8832"/>
                  </a:cxn>
                  <a:cxn ang="0">
                    <a:pos x="15713" y="8877"/>
                  </a:cxn>
                  <a:cxn ang="0">
                    <a:pos x="15635" y="8904"/>
                  </a:cxn>
                  <a:cxn ang="0">
                    <a:pos x="10285" y="8910"/>
                  </a:cxn>
                  <a:cxn ang="0">
                    <a:pos x="322" y="8910"/>
                  </a:cxn>
                  <a:cxn ang="0">
                    <a:pos x="239" y="8895"/>
                  </a:cxn>
                  <a:cxn ang="0">
                    <a:pos x="164" y="8861"/>
                  </a:cxn>
                  <a:cxn ang="0">
                    <a:pos x="100" y="8810"/>
                  </a:cxn>
                  <a:cxn ang="0">
                    <a:pos x="49" y="8746"/>
                  </a:cxn>
                  <a:cxn ang="0">
                    <a:pos x="15" y="8672"/>
                  </a:cxn>
                  <a:cxn ang="0">
                    <a:pos x="0" y="8588"/>
                  </a:cxn>
                  <a:cxn ang="0">
                    <a:pos x="4" y="5550"/>
                  </a:cxn>
                  <a:cxn ang="0">
                    <a:pos x="27" y="5469"/>
                  </a:cxn>
                  <a:cxn ang="0">
                    <a:pos x="68" y="5398"/>
                  </a:cxn>
                  <a:cxn ang="0">
                    <a:pos x="124" y="5339"/>
                  </a:cxn>
                  <a:cxn ang="0">
                    <a:pos x="192" y="5295"/>
                  </a:cxn>
                  <a:cxn ang="0">
                    <a:pos x="271" y="5268"/>
                  </a:cxn>
                  <a:cxn ang="0">
                    <a:pos x="4317" y="1018"/>
                  </a:cxn>
                  <a:cxn ang="0">
                    <a:pos x="11304" y="1023"/>
                  </a:cxn>
                  <a:cxn ang="0">
                    <a:pos x="11358" y="1045"/>
                  </a:cxn>
                  <a:cxn ang="0">
                    <a:pos x="11426" y="1116"/>
                  </a:cxn>
                  <a:cxn ang="0">
                    <a:pos x="11471" y="1213"/>
                  </a:cxn>
                  <a:cxn ang="0">
                    <a:pos x="12401" y="4398"/>
                  </a:cxn>
                  <a:cxn ang="0">
                    <a:pos x="12392" y="4448"/>
                  </a:cxn>
                  <a:cxn ang="0">
                    <a:pos x="12366" y="4494"/>
                  </a:cxn>
                  <a:cxn ang="0">
                    <a:pos x="12309" y="4543"/>
                  </a:cxn>
                  <a:cxn ang="0">
                    <a:pos x="12213" y="4580"/>
                  </a:cxn>
                  <a:cxn ang="0">
                    <a:pos x="3713" y="4582"/>
                  </a:cxn>
                  <a:cxn ang="0">
                    <a:pos x="3658" y="4572"/>
                  </a:cxn>
                  <a:cxn ang="0">
                    <a:pos x="3588" y="4539"/>
                  </a:cxn>
                  <a:cxn ang="0">
                    <a:pos x="3548" y="4503"/>
                  </a:cxn>
                  <a:cxn ang="0">
                    <a:pos x="3519" y="4458"/>
                  </a:cxn>
                  <a:cxn ang="0">
                    <a:pos x="3506" y="4410"/>
                  </a:cxn>
                  <a:cxn ang="0">
                    <a:pos x="4101" y="1234"/>
                  </a:cxn>
                  <a:cxn ang="0">
                    <a:pos x="4138" y="1132"/>
                  </a:cxn>
                  <a:cxn ang="0">
                    <a:pos x="4202" y="1056"/>
                  </a:cxn>
                  <a:cxn ang="0">
                    <a:pos x="4265" y="1025"/>
                  </a:cxn>
                  <a:cxn ang="0">
                    <a:pos x="4317" y="1018"/>
                  </a:cxn>
                  <a:cxn ang="0">
                    <a:pos x="1336" y="7722"/>
                  </a:cxn>
                  <a:cxn ang="0">
                    <a:pos x="11346" y="7722"/>
                  </a:cxn>
                </a:cxnLst>
                <a:rect l="0" t="0" r="r" b="b"/>
                <a:pathLst>
                  <a:path w="15906" h="10098">
                    <a:moveTo>
                      <a:pt x="339" y="5262"/>
                    </a:moveTo>
                    <a:lnTo>
                      <a:pt x="2034" y="5262"/>
                    </a:lnTo>
                    <a:lnTo>
                      <a:pt x="2967" y="340"/>
                    </a:lnTo>
                    <a:lnTo>
                      <a:pt x="2970" y="323"/>
                    </a:lnTo>
                    <a:lnTo>
                      <a:pt x="2975" y="306"/>
                    </a:lnTo>
                    <a:lnTo>
                      <a:pt x="2979" y="289"/>
                    </a:lnTo>
                    <a:lnTo>
                      <a:pt x="2984" y="272"/>
                    </a:lnTo>
                    <a:lnTo>
                      <a:pt x="2990" y="256"/>
                    </a:lnTo>
                    <a:lnTo>
                      <a:pt x="2995" y="240"/>
                    </a:lnTo>
                    <a:lnTo>
                      <a:pt x="3001" y="224"/>
                    </a:lnTo>
                    <a:lnTo>
                      <a:pt x="3009" y="209"/>
                    </a:lnTo>
                    <a:lnTo>
                      <a:pt x="3016" y="194"/>
                    </a:lnTo>
                    <a:lnTo>
                      <a:pt x="3024" y="179"/>
                    </a:lnTo>
                    <a:lnTo>
                      <a:pt x="3032" y="165"/>
                    </a:lnTo>
                    <a:lnTo>
                      <a:pt x="3041" y="151"/>
                    </a:lnTo>
                    <a:lnTo>
                      <a:pt x="3050" y="138"/>
                    </a:lnTo>
                    <a:lnTo>
                      <a:pt x="3060" y="125"/>
                    </a:lnTo>
                    <a:lnTo>
                      <a:pt x="3069" y="112"/>
                    </a:lnTo>
                    <a:lnTo>
                      <a:pt x="3080" y="100"/>
                    </a:lnTo>
                    <a:lnTo>
                      <a:pt x="3090" y="90"/>
                    </a:lnTo>
                    <a:lnTo>
                      <a:pt x="3102" y="78"/>
                    </a:lnTo>
                    <a:lnTo>
                      <a:pt x="3114" y="69"/>
                    </a:lnTo>
                    <a:lnTo>
                      <a:pt x="3127" y="59"/>
                    </a:lnTo>
                    <a:lnTo>
                      <a:pt x="3138" y="49"/>
                    </a:lnTo>
                    <a:lnTo>
                      <a:pt x="3152" y="42"/>
                    </a:lnTo>
                    <a:lnTo>
                      <a:pt x="3166" y="34"/>
                    </a:lnTo>
                    <a:lnTo>
                      <a:pt x="3180" y="27"/>
                    </a:lnTo>
                    <a:lnTo>
                      <a:pt x="3193" y="21"/>
                    </a:lnTo>
                    <a:lnTo>
                      <a:pt x="3208" y="15"/>
                    </a:lnTo>
                    <a:lnTo>
                      <a:pt x="3224" y="11"/>
                    </a:lnTo>
                    <a:lnTo>
                      <a:pt x="3239" y="7"/>
                    </a:lnTo>
                    <a:lnTo>
                      <a:pt x="3256" y="4"/>
                    </a:lnTo>
                    <a:lnTo>
                      <a:pt x="3272" y="2"/>
                    </a:lnTo>
                    <a:lnTo>
                      <a:pt x="3289" y="1"/>
                    </a:lnTo>
                    <a:lnTo>
                      <a:pt x="3306" y="0"/>
                    </a:lnTo>
                    <a:lnTo>
                      <a:pt x="12087" y="0"/>
                    </a:lnTo>
                    <a:lnTo>
                      <a:pt x="12104" y="1"/>
                    </a:lnTo>
                    <a:lnTo>
                      <a:pt x="12121" y="2"/>
                    </a:lnTo>
                    <a:lnTo>
                      <a:pt x="12137" y="4"/>
                    </a:lnTo>
                    <a:lnTo>
                      <a:pt x="12152" y="7"/>
                    </a:lnTo>
                    <a:lnTo>
                      <a:pt x="12167" y="11"/>
                    </a:lnTo>
                    <a:lnTo>
                      <a:pt x="12182" y="15"/>
                    </a:lnTo>
                    <a:lnTo>
                      <a:pt x="12197" y="22"/>
                    </a:lnTo>
                    <a:lnTo>
                      <a:pt x="12211" y="28"/>
                    </a:lnTo>
                    <a:lnTo>
                      <a:pt x="12224" y="35"/>
                    </a:lnTo>
                    <a:lnTo>
                      <a:pt x="12237" y="43"/>
                    </a:lnTo>
                    <a:lnTo>
                      <a:pt x="12249" y="52"/>
                    </a:lnTo>
                    <a:lnTo>
                      <a:pt x="12262" y="60"/>
                    </a:lnTo>
                    <a:lnTo>
                      <a:pt x="12274" y="70"/>
                    </a:lnTo>
                    <a:lnTo>
                      <a:pt x="12285" y="80"/>
                    </a:lnTo>
                    <a:lnTo>
                      <a:pt x="12296" y="91"/>
                    </a:lnTo>
                    <a:lnTo>
                      <a:pt x="12306" y="103"/>
                    </a:lnTo>
                    <a:lnTo>
                      <a:pt x="12316" y="114"/>
                    </a:lnTo>
                    <a:lnTo>
                      <a:pt x="12326" y="127"/>
                    </a:lnTo>
                    <a:lnTo>
                      <a:pt x="12335" y="140"/>
                    </a:lnTo>
                    <a:lnTo>
                      <a:pt x="12345" y="154"/>
                    </a:lnTo>
                    <a:lnTo>
                      <a:pt x="12362" y="181"/>
                    </a:lnTo>
                    <a:lnTo>
                      <a:pt x="12377" y="211"/>
                    </a:lnTo>
                    <a:lnTo>
                      <a:pt x="12390" y="242"/>
                    </a:lnTo>
                    <a:lnTo>
                      <a:pt x="12403" y="274"/>
                    </a:lnTo>
                    <a:lnTo>
                      <a:pt x="12415" y="306"/>
                    </a:lnTo>
                    <a:lnTo>
                      <a:pt x="12425" y="340"/>
                    </a:lnTo>
                    <a:lnTo>
                      <a:pt x="13868" y="5262"/>
                    </a:lnTo>
                    <a:lnTo>
                      <a:pt x="15566" y="5262"/>
                    </a:lnTo>
                    <a:lnTo>
                      <a:pt x="15584" y="5262"/>
                    </a:lnTo>
                    <a:lnTo>
                      <a:pt x="15601" y="5263"/>
                    </a:lnTo>
                    <a:lnTo>
                      <a:pt x="15618" y="5265"/>
                    </a:lnTo>
                    <a:lnTo>
                      <a:pt x="15635" y="5268"/>
                    </a:lnTo>
                    <a:lnTo>
                      <a:pt x="15651" y="5272"/>
                    </a:lnTo>
                    <a:lnTo>
                      <a:pt x="15667" y="5277"/>
                    </a:lnTo>
                    <a:lnTo>
                      <a:pt x="15683" y="5282"/>
                    </a:lnTo>
                    <a:lnTo>
                      <a:pt x="15697" y="5288"/>
                    </a:lnTo>
                    <a:lnTo>
                      <a:pt x="15713" y="5295"/>
                    </a:lnTo>
                    <a:lnTo>
                      <a:pt x="15727" y="5302"/>
                    </a:lnTo>
                    <a:lnTo>
                      <a:pt x="15742" y="5311"/>
                    </a:lnTo>
                    <a:lnTo>
                      <a:pt x="15756" y="5319"/>
                    </a:lnTo>
                    <a:lnTo>
                      <a:pt x="15769" y="5329"/>
                    </a:lnTo>
                    <a:lnTo>
                      <a:pt x="15781" y="5339"/>
                    </a:lnTo>
                    <a:lnTo>
                      <a:pt x="15794" y="5350"/>
                    </a:lnTo>
                    <a:lnTo>
                      <a:pt x="15806" y="5360"/>
                    </a:lnTo>
                    <a:lnTo>
                      <a:pt x="15817" y="5373"/>
                    </a:lnTo>
                    <a:lnTo>
                      <a:pt x="15828" y="5385"/>
                    </a:lnTo>
                    <a:lnTo>
                      <a:pt x="15838" y="5398"/>
                    </a:lnTo>
                    <a:lnTo>
                      <a:pt x="15847" y="5411"/>
                    </a:lnTo>
                    <a:lnTo>
                      <a:pt x="15856" y="5425"/>
                    </a:lnTo>
                    <a:lnTo>
                      <a:pt x="15864" y="5439"/>
                    </a:lnTo>
                    <a:lnTo>
                      <a:pt x="15872" y="5454"/>
                    </a:lnTo>
                    <a:lnTo>
                      <a:pt x="15879" y="5469"/>
                    </a:lnTo>
                    <a:lnTo>
                      <a:pt x="15884" y="5485"/>
                    </a:lnTo>
                    <a:lnTo>
                      <a:pt x="15890" y="5500"/>
                    </a:lnTo>
                    <a:lnTo>
                      <a:pt x="15895" y="5517"/>
                    </a:lnTo>
                    <a:lnTo>
                      <a:pt x="15898" y="5533"/>
                    </a:lnTo>
                    <a:lnTo>
                      <a:pt x="15901" y="5550"/>
                    </a:lnTo>
                    <a:lnTo>
                      <a:pt x="15903" y="5567"/>
                    </a:lnTo>
                    <a:lnTo>
                      <a:pt x="15905" y="5584"/>
                    </a:lnTo>
                    <a:lnTo>
                      <a:pt x="15906" y="5601"/>
                    </a:lnTo>
                    <a:lnTo>
                      <a:pt x="15906" y="8571"/>
                    </a:lnTo>
                    <a:lnTo>
                      <a:pt x="15905" y="8588"/>
                    </a:lnTo>
                    <a:lnTo>
                      <a:pt x="15903" y="8605"/>
                    </a:lnTo>
                    <a:lnTo>
                      <a:pt x="15901" y="8622"/>
                    </a:lnTo>
                    <a:lnTo>
                      <a:pt x="15898" y="8639"/>
                    </a:lnTo>
                    <a:lnTo>
                      <a:pt x="15895" y="8655"/>
                    </a:lnTo>
                    <a:lnTo>
                      <a:pt x="15890" y="8672"/>
                    </a:lnTo>
                    <a:lnTo>
                      <a:pt x="15884" y="8687"/>
                    </a:lnTo>
                    <a:lnTo>
                      <a:pt x="15879" y="8703"/>
                    </a:lnTo>
                    <a:lnTo>
                      <a:pt x="15872" y="8718"/>
                    </a:lnTo>
                    <a:lnTo>
                      <a:pt x="15864" y="8733"/>
                    </a:lnTo>
                    <a:lnTo>
                      <a:pt x="15856" y="8746"/>
                    </a:lnTo>
                    <a:lnTo>
                      <a:pt x="15847" y="8760"/>
                    </a:lnTo>
                    <a:lnTo>
                      <a:pt x="15838" y="8774"/>
                    </a:lnTo>
                    <a:lnTo>
                      <a:pt x="15828" y="8787"/>
                    </a:lnTo>
                    <a:lnTo>
                      <a:pt x="15817" y="8798"/>
                    </a:lnTo>
                    <a:lnTo>
                      <a:pt x="15806" y="8810"/>
                    </a:lnTo>
                    <a:lnTo>
                      <a:pt x="15794" y="8822"/>
                    </a:lnTo>
                    <a:lnTo>
                      <a:pt x="15781" y="8832"/>
                    </a:lnTo>
                    <a:lnTo>
                      <a:pt x="15769" y="8843"/>
                    </a:lnTo>
                    <a:lnTo>
                      <a:pt x="15756" y="8853"/>
                    </a:lnTo>
                    <a:lnTo>
                      <a:pt x="15742" y="8861"/>
                    </a:lnTo>
                    <a:lnTo>
                      <a:pt x="15727" y="8870"/>
                    </a:lnTo>
                    <a:lnTo>
                      <a:pt x="15713" y="8877"/>
                    </a:lnTo>
                    <a:lnTo>
                      <a:pt x="15697" y="8883"/>
                    </a:lnTo>
                    <a:lnTo>
                      <a:pt x="15683" y="8890"/>
                    </a:lnTo>
                    <a:lnTo>
                      <a:pt x="15667" y="8895"/>
                    </a:lnTo>
                    <a:lnTo>
                      <a:pt x="15651" y="8899"/>
                    </a:lnTo>
                    <a:lnTo>
                      <a:pt x="15635" y="8904"/>
                    </a:lnTo>
                    <a:lnTo>
                      <a:pt x="15618" y="8907"/>
                    </a:lnTo>
                    <a:lnTo>
                      <a:pt x="15601" y="8909"/>
                    </a:lnTo>
                    <a:lnTo>
                      <a:pt x="15584" y="8910"/>
                    </a:lnTo>
                    <a:lnTo>
                      <a:pt x="15566" y="8910"/>
                    </a:lnTo>
                    <a:lnTo>
                      <a:pt x="10285" y="8910"/>
                    </a:lnTo>
                    <a:lnTo>
                      <a:pt x="10285" y="10098"/>
                    </a:lnTo>
                    <a:lnTo>
                      <a:pt x="5620" y="10098"/>
                    </a:lnTo>
                    <a:lnTo>
                      <a:pt x="5620" y="8910"/>
                    </a:lnTo>
                    <a:lnTo>
                      <a:pt x="339" y="8910"/>
                    </a:lnTo>
                    <a:lnTo>
                      <a:pt x="322" y="8910"/>
                    </a:lnTo>
                    <a:lnTo>
                      <a:pt x="305" y="8909"/>
                    </a:lnTo>
                    <a:lnTo>
                      <a:pt x="288" y="8907"/>
                    </a:lnTo>
                    <a:lnTo>
                      <a:pt x="271" y="8904"/>
                    </a:lnTo>
                    <a:lnTo>
                      <a:pt x="255" y="8899"/>
                    </a:lnTo>
                    <a:lnTo>
                      <a:pt x="239" y="8895"/>
                    </a:lnTo>
                    <a:lnTo>
                      <a:pt x="223" y="8890"/>
                    </a:lnTo>
                    <a:lnTo>
                      <a:pt x="207" y="8883"/>
                    </a:lnTo>
                    <a:lnTo>
                      <a:pt x="192" y="8877"/>
                    </a:lnTo>
                    <a:lnTo>
                      <a:pt x="177" y="8870"/>
                    </a:lnTo>
                    <a:lnTo>
                      <a:pt x="164" y="8861"/>
                    </a:lnTo>
                    <a:lnTo>
                      <a:pt x="150" y="8853"/>
                    </a:lnTo>
                    <a:lnTo>
                      <a:pt x="137" y="8843"/>
                    </a:lnTo>
                    <a:lnTo>
                      <a:pt x="124" y="8832"/>
                    </a:lnTo>
                    <a:lnTo>
                      <a:pt x="112" y="8822"/>
                    </a:lnTo>
                    <a:lnTo>
                      <a:pt x="100" y="8810"/>
                    </a:lnTo>
                    <a:lnTo>
                      <a:pt x="88" y="8798"/>
                    </a:lnTo>
                    <a:lnTo>
                      <a:pt x="78" y="8787"/>
                    </a:lnTo>
                    <a:lnTo>
                      <a:pt x="68" y="8774"/>
                    </a:lnTo>
                    <a:lnTo>
                      <a:pt x="58" y="8760"/>
                    </a:lnTo>
                    <a:lnTo>
                      <a:pt x="49" y="8746"/>
                    </a:lnTo>
                    <a:lnTo>
                      <a:pt x="41" y="8733"/>
                    </a:lnTo>
                    <a:lnTo>
                      <a:pt x="34" y="8718"/>
                    </a:lnTo>
                    <a:lnTo>
                      <a:pt x="27" y="8703"/>
                    </a:lnTo>
                    <a:lnTo>
                      <a:pt x="20" y="8687"/>
                    </a:lnTo>
                    <a:lnTo>
                      <a:pt x="15" y="8672"/>
                    </a:lnTo>
                    <a:lnTo>
                      <a:pt x="11" y="8655"/>
                    </a:lnTo>
                    <a:lnTo>
                      <a:pt x="6" y="8639"/>
                    </a:lnTo>
                    <a:lnTo>
                      <a:pt x="4" y="8622"/>
                    </a:lnTo>
                    <a:lnTo>
                      <a:pt x="2" y="8605"/>
                    </a:lnTo>
                    <a:lnTo>
                      <a:pt x="0" y="8588"/>
                    </a:lnTo>
                    <a:lnTo>
                      <a:pt x="0" y="8571"/>
                    </a:lnTo>
                    <a:lnTo>
                      <a:pt x="0" y="5601"/>
                    </a:lnTo>
                    <a:lnTo>
                      <a:pt x="0" y="5584"/>
                    </a:lnTo>
                    <a:lnTo>
                      <a:pt x="2" y="5567"/>
                    </a:lnTo>
                    <a:lnTo>
                      <a:pt x="4" y="5550"/>
                    </a:lnTo>
                    <a:lnTo>
                      <a:pt x="6" y="5533"/>
                    </a:lnTo>
                    <a:lnTo>
                      <a:pt x="11" y="5517"/>
                    </a:lnTo>
                    <a:lnTo>
                      <a:pt x="15" y="5500"/>
                    </a:lnTo>
                    <a:lnTo>
                      <a:pt x="20" y="5485"/>
                    </a:lnTo>
                    <a:lnTo>
                      <a:pt x="27" y="5469"/>
                    </a:lnTo>
                    <a:lnTo>
                      <a:pt x="34" y="5454"/>
                    </a:lnTo>
                    <a:lnTo>
                      <a:pt x="41" y="5439"/>
                    </a:lnTo>
                    <a:lnTo>
                      <a:pt x="49" y="5425"/>
                    </a:lnTo>
                    <a:lnTo>
                      <a:pt x="58" y="5411"/>
                    </a:lnTo>
                    <a:lnTo>
                      <a:pt x="68" y="5398"/>
                    </a:lnTo>
                    <a:lnTo>
                      <a:pt x="78" y="5385"/>
                    </a:lnTo>
                    <a:lnTo>
                      <a:pt x="88" y="5373"/>
                    </a:lnTo>
                    <a:lnTo>
                      <a:pt x="100" y="5360"/>
                    </a:lnTo>
                    <a:lnTo>
                      <a:pt x="112" y="5350"/>
                    </a:lnTo>
                    <a:lnTo>
                      <a:pt x="124" y="5339"/>
                    </a:lnTo>
                    <a:lnTo>
                      <a:pt x="137" y="5329"/>
                    </a:lnTo>
                    <a:lnTo>
                      <a:pt x="150" y="5319"/>
                    </a:lnTo>
                    <a:lnTo>
                      <a:pt x="164" y="5311"/>
                    </a:lnTo>
                    <a:lnTo>
                      <a:pt x="177" y="5302"/>
                    </a:lnTo>
                    <a:lnTo>
                      <a:pt x="192" y="5295"/>
                    </a:lnTo>
                    <a:lnTo>
                      <a:pt x="207" y="5288"/>
                    </a:lnTo>
                    <a:lnTo>
                      <a:pt x="223" y="5282"/>
                    </a:lnTo>
                    <a:lnTo>
                      <a:pt x="239" y="5277"/>
                    </a:lnTo>
                    <a:lnTo>
                      <a:pt x="255" y="5272"/>
                    </a:lnTo>
                    <a:lnTo>
                      <a:pt x="271" y="5268"/>
                    </a:lnTo>
                    <a:lnTo>
                      <a:pt x="288" y="5265"/>
                    </a:lnTo>
                    <a:lnTo>
                      <a:pt x="305" y="5263"/>
                    </a:lnTo>
                    <a:lnTo>
                      <a:pt x="322" y="5262"/>
                    </a:lnTo>
                    <a:lnTo>
                      <a:pt x="339" y="5262"/>
                    </a:lnTo>
                    <a:close/>
                    <a:moveTo>
                      <a:pt x="4317" y="1018"/>
                    </a:moveTo>
                    <a:lnTo>
                      <a:pt x="11261" y="1018"/>
                    </a:lnTo>
                    <a:lnTo>
                      <a:pt x="11273" y="1018"/>
                    </a:lnTo>
                    <a:lnTo>
                      <a:pt x="11284" y="1019"/>
                    </a:lnTo>
                    <a:lnTo>
                      <a:pt x="11293" y="1021"/>
                    </a:lnTo>
                    <a:lnTo>
                      <a:pt x="11304" y="1023"/>
                    </a:lnTo>
                    <a:lnTo>
                      <a:pt x="11313" y="1026"/>
                    </a:lnTo>
                    <a:lnTo>
                      <a:pt x="11323" y="1028"/>
                    </a:lnTo>
                    <a:lnTo>
                      <a:pt x="11333" y="1032"/>
                    </a:lnTo>
                    <a:lnTo>
                      <a:pt x="11341" y="1036"/>
                    </a:lnTo>
                    <a:lnTo>
                      <a:pt x="11358" y="1045"/>
                    </a:lnTo>
                    <a:lnTo>
                      <a:pt x="11374" y="1057"/>
                    </a:lnTo>
                    <a:lnTo>
                      <a:pt x="11388" y="1069"/>
                    </a:lnTo>
                    <a:lnTo>
                      <a:pt x="11402" y="1083"/>
                    </a:lnTo>
                    <a:lnTo>
                      <a:pt x="11414" y="1099"/>
                    </a:lnTo>
                    <a:lnTo>
                      <a:pt x="11426" y="1116"/>
                    </a:lnTo>
                    <a:lnTo>
                      <a:pt x="11437" y="1134"/>
                    </a:lnTo>
                    <a:lnTo>
                      <a:pt x="11446" y="1152"/>
                    </a:lnTo>
                    <a:lnTo>
                      <a:pt x="11456" y="1172"/>
                    </a:lnTo>
                    <a:lnTo>
                      <a:pt x="11464" y="1193"/>
                    </a:lnTo>
                    <a:lnTo>
                      <a:pt x="11471" y="1213"/>
                    </a:lnTo>
                    <a:lnTo>
                      <a:pt x="11478" y="1234"/>
                    </a:lnTo>
                    <a:lnTo>
                      <a:pt x="12396" y="4366"/>
                    </a:lnTo>
                    <a:lnTo>
                      <a:pt x="12398" y="4377"/>
                    </a:lnTo>
                    <a:lnTo>
                      <a:pt x="12400" y="4387"/>
                    </a:lnTo>
                    <a:lnTo>
                      <a:pt x="12401" y="4398"/>
                    </a:lnTo>
                    <a:lnTo>
                      <a:pt x="12401" y="4409"/>
                    </a:lnTo>
                    <a:lnTo>
                      <a:pt x="12400" y="4418"/>
                    </a:lnTo>
                    <a:lnTo>
                      <a:pt x="12398" y="4429"/>
                    </a:lnTo>
                    <a:lnTo>
                      <a:pt x="12396" y="4438"/>
                    </a:lnTo>
                    <a:lnTo>
                      <a:pt x="12392" y="4448"/>
                    </a:lnTo>
                    <a:lnTo>
                      <a:pt x="12388" y="4457"/>
                    </a:lnTo>
                    <a:lnTo>
                      <a:pt x="12384" y="4467"/>
                    </a:lnTo>
                    <a:lnTo>
                      <a:pt x="12379" y="4475"/>
                    </a:lnTo>
                    <a:lnTo>
                      <a:pt x="12373" y="4484"/>
                    </a:lnTo>
                    <a:lnTo>
                      <a:pt x="12366" y="4494"/>
                    </a:lnTo>
                    <a:lnTo>
                      <a:pt x="12360" y="4501"/>
                    </a:lnTo>
                    <a:lnTo>
                      <a:pt x="12352" y="4509"/>
                    </a:lnTo>
                    <a:lnTo>
                      <a:pt x="12345" y="4517"/>
                    </a:lnTo>
                    <a:lnTo>
                      <a:pt x="12327" y="4531"/>
                    </a:lnTo>
                    <a:lnTo>
                      <a:pt x="12309" y="4543"/>
                    </a:lnTo>
                    <a:lnTo>
                      <a:pt x="12288" y="4555"/>
                    </a:lnTo>
                    <a:lnTo>
                      <a:pt x="12268" y="4565"/>
                    </a:lnTo>
                    <a:lnTo>
                      <a:pt x="12246" y="4572"/>
                    </a:lnTo>
                    <a:lnTo>
                      <a:pt x="12224" y="4577"/>
                    </a:lnTo>
                    <a:lnTo>
                      <a:pt x="12213" y="4580"/>
                    </a:lnTo>
                    <a:lnTo>
                      <a:pt x="12201" y="4581"/>
                    </a:lnTo>
                    <a:lnTo>
                      <a:pt x="12191" y="4582"/>
                    </a:lnTo>
                    <a:lnTo>
                      <a:pt x="12179" y="4583"/>
                    </a:lnTo>
                    <a:lnTo>
                      <a:pt x="3723" y="4583"/>
                    </a:lnTo>
                    <a:lnTo>
                      <a:pt x="3713" y="4582"/>
                    </a:lnTo>
                    <a:lnTo>
                      <a:pt x="3701" y="4582"/>
                    </a:lnTo>
                    <a:lnTo>
                      <a:pt x="3690" y="4580"/>
                    </a:lnTo>
                    <a:lnTo>
                      <a:pt x="3680" y="4577"/>
                    </a:lnTo>
                    <a:lnTo>
                      <a:pt x="3668" y="4575"/>
                    </a:lnTo>
                    <a:lnTo>
                      <a:pt x="3658" y="4572"/>
                    </a:lnTo>
                    <a:lnTo>
                      <a:pt x="3647" y="4569"/>
                    </a:lnTo>
                    <a:lnTo>
                      <a:pt x="3636" y="4565"/>
                    </a:lnTo>
                    <a:lnTo>
                      <a:pt x="3616" y="4556"/>
                    </a:lnTo>
                    <a:lnTo>
                      <a:pt x="3597" y="4545"/>
                    </a:lnTo>
                    <a:lnTo>
                      <a:pt x="3588" y="4539"/>
                    </a:lnTo>
                    <a:lnTo>
                      <a:pt x="3579" y="4532"/>
                    </a:lnTo>
                    <a:lnTo>
                      <a:pt x="3570" y="4525"/>
                    </a:lnTo>
                    <a:lnTo>
                      <a:pt x="3563" y="4518"/>
                    </a:lnTo>
                    <a:lnTo>
                      <a:pt x="3556" y="4511"/>
                    </a:lnTo>
                    <a:lnTo>
                      <a:pt x="3548" y="4503"/>
                    </a:lnTo>
                    <a:lnTo>
                      <a:pt x="3542" y="4495"/>
                    </a:lnTo>
                    <a:lnTo>
                      <a:pt x="3535" y="4486"/>
                    </a:lnTo>
                    <a:lnTo>
                      <a:pt x="3529" y="4478"/>
                    </a:lnTo>
                    <a:lnTo>
                      <a:pt x="3524" y="4468"/>
                    </a:lnTo>
                    <a:lnTo>
                      <a:pt x="3519" y="4458"/>
                    </a:lnTo>
                    <a:lnTo>
                      <a:pt x="3515" y="4449"/>
                    </a:lnTo>
                    <a:lnTo>
                      <a:pt x="3512" y="4439"/>
                    </a:lnTo>
                    <a:lnTo>
                      <a:pt x="3509" y="4430"/>
                    </a:lnTo>
                    <a:lnTo>
                      <a:pt x="3507" y="4419"/>
                    </a:lnTo>
                    <a:lnTo>
                      <a:pt x="3506" y="4410"/>
                    </a:lnTo>
                    <a:lnTo>
                      <a:pt x="3505" y="4399"/>
                    </a:lnTo>
                    <a:lnTo>
                      <a:pt x="3505" y="4388"/>
                    </a:lnTo>
                    <a:lnTo>
                      <a:pt x="3506" y="4378"/>
                    </a:lnTo>
                    <a:lnTo>
                      <a:pt x="3508" y="4366"/>
                    </a:lnTo>
                    <a:lnTo>
                      <a:pt x="4101" y="1234"/>
                    </a:lnTo>
                    <a:lnTo>
                      <a:pt x="4106" y="1213"/>
                    </a:lnTo>
                    <a:lnTo>
                      <a:pt x="4112" y="1192"/>
                    </a:lnTo>
                    <a:lnTo>
                      <a:pt x="4119" y="1171"/>
                    </a:lnTo>
                    <a:lnTo>
                      <a:pt x="4128" y="1151"/>
                    </a:lnTo>
                    <a:lnTo>
                      <a:pt x="4138" y="1132"/>
                    </a:lnTo>
                    <a:lnTo>
                      <a:pt x="4148" y="1114"/>
                    </a:lnTo>
                    <a:lnTo>
                      <a:pt x="4160" y="1098"/>
                    </a:lnTo>
                    <a:lnTo>
                      <a:pt x="4174" y="1082"/>
                    </a:lnTo>
                    <a:lnTo>
                      <a:pt x="4187" y="1068"/>
                    </a:lnTo>
                    <a:lnTo>
                      <a:pt x="4202" y="1056"/>
                    </a:lnTo>
                    <a:lnTo>
                      <a:pt x="4219" y="1045"/>
                    </a:lnTo>
                    <a:lnTo>
                      <a:pt x="4236" y="1035"/>
                    </a:lnTo>
                    <a:lnTo>
                      <a:pt x="4246" y="1031"/>
                    </a:lnTo>
                    <a:lnTo>
                      <a:pt x="4255" y="1028"/>
                    </a:lnTo>
                    <a:lnTo>
                      <a:pt x="4265" y="1025"/>
                    </a:lnTo>
                    <a:lnTo>
                      <a:pt x="4275" y="1023"/>
                    </a:lnTo>
                    <a:lnTo>
                      <a:pt x="4285" y="1021"/>
                    </a:lnTo>
                    <a:lnTo>
                      <a:pt x="4296" y="1019"/>
                    </a:lnTo>
                    <a:lnTo>
                      <a:pt x="4306" y="1018"/>
                    </a:lnTo>
                    <a:lnTo>
                      <a:pt x="4317" y="1018"/>
                    </a:lnTo>
                    <a:close/>
                    <a:moveTo>
                      <a:pt x="1336" y="6492"/>
                    </a:moveTo>
                    <a:lnTo>
                      <a:pt x="2863" y="6492"/>
                    </a:lnTo>
                    <a:lnTo>
                      <a:pt x="4559" y="7256"/>
                    </a:lnTo>
                    <a:lnTo>
                      <a:pt x="4559" y="7722"/>
                    </a:lnTo>
                    <a:lnTo>
                      <a:pt x="1336" y="7722"/>
                    </a:lnTo>
                    <a:lnTo>
                      <a:pt x="1336" y="6492"/>
                    </a:lnTo>
                    <a:close/>
                    <a:moveTo>
                      <a:pt x="14570" y="6492"/>
                    </a:moveTo>
                    <a:lnTo>
                      <a:pt x="13042" y="6492"/>
                    </a:lnTo>
                    <a:lnTo>
                      <a:pt x="11346" y="7256"/>
                    </a:lnTo>
                    <a:lnTo>
                      <a:pt x="11346" y="7722"/>
                    </a:lnTo>
                    <a:lnTo>
                      <a:pt x="14570" y="7722"/>
                    </a:lnTo>
                    <a:lnTo>
                      <a:pt x="14570" y="64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101" name="Freeform 14"/>
              <p:cNvSpPr>
                <a:spLocks noEditPoints="1"/>
              </p:cNvSpPr>
              <p:nvPr/>
            </p:nvSpPr>
            <p:spPr bwMode="auto">
              <a:xfrm>
                <a:off x="4917384" y="5351862"/>
                <a:ext cx="630205" cy="96313"/>
              </a:xfrm>
              <a:custGeom>
                <a:avLst/>
                <a:gdLst/>
                <a:ahLst/>
                <a:cxnLst>
                  <a:cxn ang="0">
                    <a:pos x="12764" y="0"/>
                  </a:cxn>
                  <a:cxn ang="0">
                    <a:pos x="13297" y="1019"/>
                  </a:cxn>
                  <a:cxn ang="0">
                    <a:pos x="13258" y="1395"/>
                  </a:cxn>
                  <a:cxn ang="0">
                    <a:pos x="13232" y="1500"/>
                  </a:cxn>
                  <a:cxn ang="0">
                    <a:pos x="13199" y="1599"/>
                  </a:cxn>
                  <a:cxn ang="0">
                    <a:pos x="13162" y="1691"/>
                  </a:cxn>
                  <a:cxn ang="0">
                    <a:pos x="13118" y="1772"/>
                  </a:cxn>
                  <a:cxn ang="0">
                    <a:pos x="13072" y="1846"/>
                  </a:cxn>
                  <a:cxn ang="0">
                    <a:pos x="13019" y="1908"/>
                  </a:cxn>
                  <a:cxn ang="0">
                    <a:pos x="12963" y="1959"/>
                  </a:cxn>
                  <a:cxn ang="0">
                    <a:pos x="12905" y="1998"/>
                  </a:cxn>
                  <a:cxn ang="0">
                    <a:pos x="12843" y="2024"/>
                  </a:cxn>
                  <a:cxn ang="0">
                    <a:pos x="12779" y="2036"/>
                  </a:cxn>
                  <a:cxn ang="0">
                    <a:pos x="10104" y="2036"/>
                  </a:cxn>
                  <a:cxn ang="0">
                    <a:pos x="10040" y="2024"/>
                  </a:cxn>
                  <a:cxn ang="0">
                    <a:pos x="9978" y="1998"/>
                  </a:cxn>
                  <a:cxn ang="0">
                    <a:pos x="9920" y="1959"/>
                  </a:cxn>
                  <a:cxn ang="0">
                    <a:pos x="9864" y="1908"/>
                  </a:cxn>
                  <a:cxn ang="0">
                    <a:pos x="9812" y="1846"/>
                  </a:cxn>
                  <a:cxn ang="0">
                    <a:pos x="9764" y="1772"/>
                  </a:cxn>
                  <a:cxn ang="0">
                    <a:pos x="9722" y="1691"/>
                  </a:cxn>
                  <a:cxn ang="0">
                    <a:pos x="9684" y="1599"/>
                  </a:cxn>
                  <a:cxn ang="0">
                    <a:pos x="9652" y="1500"/>
                  </a:cxn>
                  <a:cxn ang="0">
                    <a:pos x="9625" y="1395"/>
                  </a:cxn>
                  <a:cxn ang="0">
                    <a:pos x="9586" y="1019"/>
                  </a:cxn>
                  <a:cxn ang="0">
                    <a:pos x="10119" y="0"/>
                  </a:cxn>
                  <a:cxn ang="0">
                    <a:pos x="3172" y="0"/>
                  </a:cxn>
                  <a:cxn ang="0">
                    <a:pos x="3711" y="0"/>
                  </a:cxn>
                  <a:cxn ang="0">
                    <a:pos x="3680" y="1358"/>
                  </a:cxn>
                  <a:cxn ang="0">
                    <a:pos x="3656" y="1466"/>
                  </a:cxn>
                  <a:cxn ang="0">
                    <a:pos x="3625" y="1567"/>
                  </a:cxn>
                  <a:cxn ang="0">
                    <a:pos x="3589" y="1661"/>
                  </a:cxn>
                  <a:cxn ang="0">
                    <a:pos x="3548" y="1746"/>
                  </a:cxn>
                  <a:cxn ang="0">
                    <a:pos x="3502" y="1822"/>
                  </a:cxn>
                  <a:cxn ang="0">
                    <a:pos x="3451" y="1888"/>
                  </a:cxn>
                  <a:cxn ang="0">
                    <a:pos x="3397" y="1944"/>
                  </a:cxn>
                  <a:cxn ang="0">
                    <a:pos x="3339" y="1986"/>
                  </a:cxn>
                  <a:cxn ang="0">
                    <a:pos x="3279" y="2017"/>
                  </a:cxn>
                  <a:cxn ang="0">
                    <a:pos x="3215" y="2034"/>
                  </a:cxn>
                  <a:cxn ang="0">
                    <a:pos x="540" y="2037"/>
                  </a:cxn>
                  <a:cxn ang="0">
                    <a:pos x="475" y="2030"/>
                  </a:cxn>
                  <a:cxn ang="0">
                    <a:pos x="412" y="2008"/>
                  </a:cxn>
                  <a:cxn ang="0">
                    <a:pos x="353" y="1973"/>
                  </a:cxn>
                  <a:cxn ang="0">
                    <a:pos x="297" y="1927"/>
                  </a:cxn>
                  <a:cxn ang="0">
                    <a:pos x="244" y="1867"/>
                  </a:cxn>
                  <a:cxn ang="0">
                    <a:pos x="194" y="1798"/>
                  </a:cxn>
                  <a:cxn ang="0">
                    <a:pos x="150" y="1719"/>
                  </a:cxn>
                  <a:cxn ang="0">
                    <a:pos x="110" y="1630"/>
                  </a:cxn>
                  <a:cxn ang="0">
                    <a:pos x="76" y="1534"/>
                  </a:cxn>
                  <a:cxn ang="0">
                    <a:pos x="47" y="1430"/>
                  </a:cxn>
                  <a:cxn ang="0">
                    <a:pos x="0" y="1358"/>
                  </a:cxn>
                  <a:cxn ang="0">
                    <a:pos x="527" y="0"/>
                  </a:cxn>
                </a:cxnLst>
                <a:rect l="0" t="0" r="r" b="b"/>
                <a:pathLst>
                  <a:path w="13297" h="2037">
                    <a:moveTo>
                      <a:pt x="10126" y="0"/>
                    </a:moveTo>
                    <a:lnTo>
                      <a:pt x="12757" y="0"/>
                    </a:lnTo>
                    <a:lnTo>
                      <a:pt x="12764" y="0"/>
                    </a:lnTo>
                    <a:lnTo>
                      <a:pt x="12771" y="0"/>
                    </a:lnTo>
                    <a:lnTo>
                      <a:pt x="13297" y="0"/>
                    </a:lnTo>
                    <a:lnTo>
                      <a:pt x="13297" y="1019"/>
                    </a:lnTo>
                    <a:lnTo>
                      <a:pt x="13297" y="1358"/>
                    </a:lnTo>
                    <a:lnTo>
                      <a:pt x="13266" y="1358"/>
                    </a:lnTo>
                    <a:lnTo>
                      <a:pt x="13258" y="1395"/>
                    </a:lnTo>
                    <a:lnTo>
                      <a:pt x="13250" y="1430"/>
                    </a:lnTo>
                    <a:lnTo>
                      <a:pt x="13241" y="1466"/>
                    </a:lnTo>
                    <a:lnTo>
                      <a:pt x="13232" y="1500"/>
                    </a:lnTo>
                    <a:lnTo>
                      <a:pt x="13221" y="1534"/>
                    </a:lnTo>
                    <a:lnTo>
                      <a:pt x="13211" y="1567"/>
                    </a:lnTo>
                    <a:lnTo>
                      <a:pt x="13199" y="1599"/>
                    </a:lnTo>
                    <a:lnTo>
                      <a:pt x="13187" y="1630"/>
                    </a:lnTo>
                    <a:lnTo>
                      <a:pt x="13175" y="1661"/>
                    </a:lnTo>
                    <a:lnTo>
                      <a:pt x="13162" y="1691"/>
                    </a:lnTo>
                    <a:lnTo>
                      <a:pt x="13148" y="1719"/>
                    </a:lnTo>
                    <a:lnTo>
                      <a:pt x="13133" y="1746"/>
                    </a:lnTo>
                    <a:lnTo>
                      <a:pt x="13118" y="1772"/>
                    </a:lnTo>
                    <a:lnTo>
                      <a:pt x="13103" y="1798"/>
                    </a:lnTo>
                    <a:lnTo>
                      <a:pt x="13087" y="1822"/>
                    </a:lnTo>
                    <a:lnTo>
                      <a:pt x="13072" y="1846"/>
                    </a:lnTo>
                    <a:lnTo>
                      <a:pt x="13055" y="1867"/>
                    </a:lnTo>
                    <a:lnTo>
                      <a:pt x="13036" y="1888"/>
                    </a:lnTo>
                    <a:lnTo>
                      <a:pt x="13019" y="1908"/>
                    </a:lnTo>
                    <a:lnTo>
                      <a:pt x="13001" y="1927"/>
                    </a:lnTo>
                    <a:lnTo>
                      <a:pt x="12982" y="1944"/>
                    </a:lnTo>
                    <a:lnTo>
                      <a:pt x="12963" y="1959"/>
                    </a:lnTo>
                    <a:lnTo>
                      <a:pt x="12944" y="1973"/>
                    </a:lnTo>
                    <a:lnTo>
                      <a:pt x="12925" y="1986"/>
                    </a:lnTo>
                    <a:lnTo>
                      <a:pt x="12905" y="1998"/>
                    </a:lnTo>
                    <a:lnTo>
                      <a:pt x="12885" y="2008"/>
                    </a:lnTo>
                    <a:lnTo>
                      <a:pt x="12864" y="2017"/>
                    </a:lnTo>
                    <a:lnTo>
                      <a:pt x="12843" y="2024"/>
                    </a:lnTo>
                    <a:lnTo>
                      <a:pt x="12822" y="2030"/>
                    </a:lnTo>
                    <a:lnTo>
                      <a:pt x="12801" y="2034"/>
                    </a:lnTo>
                    <a:lnTo>
                      <a:pt x="12779" y="2036"/>
                    </a:lnTo>
                    <a:lnTo>
                      <a:pt x="12757" y="2037"/>
                    </a:lnTo>
                    <a:lnTo>
                      <a:pt x="10126" y="2037"/>
                    </a:lnTo>
                    <a:lnTo>
                      <a:pt x="10104" y="2036"/>
                    </a:lnTo>
                    <a:lnTo>
                      <a:pt x="10082" y="2034"/>
                    </a:lnTo>
                    <a:lnTo>
                      <a:pt x="10061" y="2030"/>
                    </a:lnTo>
                    <a:lnTo>
                      <a:pt x="10040" y="2024"/>
                    </a:lnTo>
                    <a:lnTo>
                      <a:pt x="10019" y="2017"/>
                    </a:lnTo>
                    <a:lnTo>
                      <a:pt x="9998" y="2008"/>
                    </a:lnTo>
                    <a:lnTo>
                      <a:pt x="9978" y="1998"/>
                    </a:lnTo>
                    <a:lnTo>
                      <a:pt x="9958" y="1986"/>
                    </a:lnTo>
                    <a:lnTo>
                      <a:pt x="9939" y="1973"/>
                    </a:lnTo>
                    <a:lnTo>
                      <a:pt x="9920" y="1959"/>
                    </a:lnTo>
                    <a:lnTo>
                      <a:pt x="9900" y="1944"/>
                    </a:lnTo>
                    <a:lnTo>
                      <a:pt x="9882" y="1927"/>
                    </a:lnTo>
                    <a:lnTo>
                      <a:pt x="9864" y="1908"/>
                    </a:lnTo>
                    <a:lnTo>
                      <a:pt x="9846" y="1888"/>
                    </a:lnTo>
                    <a:lnTo>
                      <a:pt x="9829" y="1867"/>
                    </a:lnTo>
                    <a:lnTo>
                      <a:pt x="9812" y="1846"/>
                    </a:lnTo>
                    <a:lnTo>
                      <a:pt x="9795" y="1822"/>
                    </a:lnTo>
                    <a:lnTo>
                      <a:pt x="9779" y="1798"/>
                    </a:lnTo>
                    <a:lnTo>
                      <a:pt x="9764" y="1772"/>
                    </a:lnTo>
                    <a:lnTo>
                      <a:pt x="9750" y="1746"/>
                    </a:lnTo>
                    <a:lnTo>
                      <a:pt x="9736" y="1719"/>
                    </a:lnTo>
                    <a:lnTo>
                      <a:pt x="9722" y="1691"/>
                    </a:lnTo>
                    <a:lnTo>
                      <a:pt x="9708" y="1661"/>
                    </a:lnTo>
                    <a:lnTo>
                      <a:pt x="9695" y="1630"/>
                    </a:lnTo>
                    <a:lnTo>
                      <a:pt x="9684" y="1599"/>
                    </a:lnTo>
                    <a:lnTo>
                      <a:pt x="9672" y="1567"/>
                    </a:lnTo>
                    <a:lnTo>
                      <a:pt x="9661" y="1534"/>
                    </a:lnTo>
                    <a:lnTo>
                      <a:pt x="9652" y="1500"/>
                    </a:lnTo>
                    <a:lnTo>
                      <a:pt x="9642" y="1466"/>
                    </a:lnTo>
                    <a:lnTo>
                      <a:pt x="9633" y="1430"/>
                    </a:lnTo>
                    <a:lnTo>
                      <a:pt x="9625" y="1395"/>
                    </a:lnTo>
                    <a:lnTo>
                      <a:pt x="9618" y="1358"/>
                    </a:lnTo>
                    <a:lnTo>
                      <a:pt x="9586" y="1358"/>
                    </a:lnTo>
                    <a:lnTo>
                      <a:pt x="9586" y="1019"/>
                    </a:lnTo>
                    <a:lnTo>
                      <a:pt x="9586" y="0"/>
                    </a:lnTo>
                    <a:lnTo>
                      <a:pt x="10113" y="0"/>
                    </a:lnTo>
                    <a:lnTo>
                      <a:pt x="10119" y="0"/>
                    </a:lnTo>
                    <a:lnTo>
                      <a:pt x="10126" y="0"/>
                    </a:lnTo>
                    <a:close/>
                    <a:moveTo>
                      <a:pt x="540" y="0"/>
                    </a:moveTo>
                    <a:lnTo>
                      <a:pt x="3172" y="0"/>
                    </a:lnTo>
                    <a:lnTo>
                      <a:pt x="3178" y="0"/>
                    </a:lnTo>
                    <a:lnTo>
                      <a:pt x="3185" y="0"/>
                    </a:lnTo>
                    <a:lnTo>
                      <a:pt x="3711" y="0"/>
                    </a:lnTo>
                    <a:lnTo>
                      <a:pt x="3711" y="1019"/>
                    </a:lnTo>
                    <a:lnTo>
                      <a:pt x="3711" y="1358"/>
                    </a:lnTo>
                    <a:lnTo>
                      <a:pt x="3680" y="1358"/>
                    </a:lnTo>
                    <a:lnTo>
                      <a:pt x="3673" y="1395"/>
                    </a:lnTo>
                    <a:lnTo>
                      <a:pt x="3664" y="1430"/>
                    </a:lnTo>
                    <a:lnTo>
                      <a:pt x="3656" y="1466"/>
                    </a:lnTo>
                    <a:lnTo>
                      <a:pt x="3646" y="1500"/>
                    </a:lnTo>
                    <a:lnTo>
                      <a:pt x="3636" y="1534"/>
                    </a:lnTo>
                    <a:lnTo>
                      <a:pt x="3625" y="1567"/>
                    </a:lnTo>
                    <a:lnTo>
                      <a:pt x="3613" y="1599"/>
                    </a:lnTo>
                    <a:lnTo>
                      <a:pt x="3602" y="1630"/>
                    </a:lnTo>
                    <a:lnTo>
                      <a:pt x="3589" y="1661"/>
                    </a:lnTo>
                    <a:lnTo>
                      <a:pt x="3576" y="1691"/>
                    </a:lnTo>
                    <a:lnTo>
                      <a:pt x="3562" y="1719"/>
                    </a:lnTo>
                    <a:lnTo>
                      <a:pt x="3548" y="1746"/>
                    </a:lnTo>
                    <a:lnTo>
                      <a:pt x="3533" y="1772"/>
                    </a:lnTo>
                    <a:lnTo>
                      <a:pt x="3518" y="1798"/>
                    </a:lnTo>
                    <a:lnTo>
                      <a:pt x="3502" y="1822"/>
                    </a:lnTo>
                    <a:lnTo>
                      <a:pt x="3486" y="1846"/>
                    </a:lnTo>
                    <a:lnTo>
                      <a:pt x="3469" y="1867"/>
                    </a:lnTo>
                    <a:lnTo>
                      <a:pt x="3451" y="1888"/>
                    </a:lnTo>
                    <a:lnTo>
                      <a:pt x="3434" y="1908"/>
                    </a:lnTo>
                    <a:lnTo>
                      <a:pt x="3416" y="1927"/>
                    </a:lnTo>
                    <a:lnTo>
                      <a:pt x="3397" y="1944"/>
                    </a:lnTo>
                    <a:lnTo>
                      <a:pt x="3378" y="1959"/>
                    </a:lnTo>
                    <a:lnTo>
                      <a:pt x="3358" y="1973"/>
                    </a:lnTo>
                    <a:lnTo>
                      <a:pt x="3339" y="1986"/>
                    </a:lnTo>
                    <a:lnTo>
                      <a:pt x="3319" y="1998"/>
                    </a:lnTo>
                    <a:lnTo>
                      <a:pt x="3299" y="2008"/>
                    </a:lnTo>
                    <a:lnTo>
                      <a:pt x="3279" y="2017"/>
                    </a:lnTo>
                    <a:lnTo>
                      <a:pt x="3258" y="2024"/>
                    </a:lnTo>
                    <a:lnTo>
                      <a:pt x="3236" y="2030"/>
                    </a:lnTo>
                    <a:lnTo>
                      <a:pt x="3215" y="2034"/>
                    </a:lnTo>
                    <a:lnTo>
                      <a:pt x="3194" y="2036"/>
                    </a:lnTo>
                    <a:lnTo>
                      <a:pt x="3172" y="2037"/>
                    </a:lnTo>
                    <a:lnTo>
                      <a:pt x="540" y="2037"/>
                    </a:lnTo>
                    <a:lnTo>
                      <a:pt x="519" y="2036"/>
                    </a:lnTo>
                    <a:lnTo>
                      <a:pt x="496" y="2034"/>
                    </a:lnTo>
                    <a:lnTo>
                      <a:pt x="475" y="2030"/>
                    </a:lnTo>
                    <a:lnTo>
                      <a:pt x="454" y="2024"/>
                    </a:lnTo>
                    <a:lnTo>
                      <a:pt x="434" y="2017"/>
                    </a:lnTo>
                    <a:lnTo>
                      <a:pt x="412" y="2008"/>
                    </a:lnTo>
                    <a:lnTo>
                      <a:pt x="392" y="1998"/>
                    </a:lnTo>
                    <a:lnTo>
                      <a:pt x="372" y="1986"/>
                    </a:lnTo>
                    <a:lnTo>
                      <a:pt x="353" y="1973"/>
                    </a:lnTo>
                    <a:lnTo>
                      <a:pt x="334" y="1959"/>
                    </a:lnTo>
                    <a:lnTo>
                      <a:pt x="315" y="1944"/>
                    </a:lnTo>
                    <a:lnTo>
                      <a:pt x="297" y="1927"/>
                    </a:lnTo>
                    <a:lnTo>
                      <a:pt x="278" y="1908"/>
                    </a:lnTo>
                    <a:lnTo>
                      <a:pt x="261" y="1888"/>
                    </a:lnTo>
                    <a:lnTo>
                      <a:pt x="244" y="1867"/>
                    </a:lnTo>
                    <a:lnTo>
                      <a:pt x="227" y="1846"/>
                    </a:lnTo>
                    <a:lnTo>
                      <a:pt x="210" y="1822"/>
                    </a:lnTo>
                    <a:lnTo>
                      <a:pt x="194" y="1798"/>
                    </a:lnTo>
                    <a:lnTo>
                      <a:pt x="179" y="1772"/>
                    </a:lnTo>
                    <a:lnTo>
                      <a:pt x="164" y="1746"/>
                    </a:lnTo>
                    <a:lnTo>
                      <a:pt x="150" y="1719"/>
                    </a:lnTo>
                    <a:lnTo>
                      <a:pt x="136" y="1691"/>
                    </a:lnTo>
                    <a:lnTo>
                      <a:pt x="123" y="1661"/>
                    </a:lnTo>
                    <a:lnTo>
                      <a:pt x="110" y="1630"/>
                    </a:lnTo>
                    <a:lnTo>
                      <a:pt x="98" y="1599"/>
                    </a:lnTo>
                    <a:lnTo>
                      <a:pt x="86" y="1567"/>
                    </a:lnTo>
                    <a:lnTo>
                      <a:pt x="76" y="1534"/>
                    </a:lnTo>
                    <a:lnTo>
                      <a:pt x="66" y="1500"/>
                    </a:lnTo>
                    <a:lnTo>
                      <a:pt x="57" y="1466"/>
                    </a:lnTo>
                    <a:lnTo>
                      <a:pt x="47" y="1430"/>
                    </a:lnTo>
                    <a:lnTo>
                      <a:pt x="40" y="1395"/>
                    </a:lnTo>
                    <a:lnTo>
                      <a:pt x="32" y="1358"/>
                    </a:lnTo>
                    <a:lnTo>
                      <a:pt x="0" y="1358"/>
                    </a:lnTo>
                    <a:lnTo>
                      <a:pt x="0" y="1019"/>
                    </a:lnTo>
                    <a:lnTo>
                      <a:pt x="0" y="0"/>
                    </a:lnTo>
                    <a:lnTo>
                      <a:pt x="527" y="0"/>
                    </a:lnTo>
                    <a:lnTo>
                      <a:pt x="534" y="0"/>
                    </a:lnTo>
                    <a:lnTo>
                      <a:pt x="54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grpSp>
        <p:sp>
          <p:nvSpPr>
            <p:cNvPr id="82" name="Freeform 82"/>
            <p:cNvSpPr>
              <a:spLocks noEditPoints="1"/>
            </p:cNvSpPr>
            <p:nvPr/>
          </p:nvSpPr>
          <p:spPr bwMode="auto">
            <a:xfrm>
              <a:off x="2970081" y="1066664"/>
              <a:ext cx="81247" cy="171676"/>
            </a:xfrm>
            <a:custGeom>
              <a:avLst/>
              <a:gdLst/>
              <a:ahLst/>
              <a:cxnLst>
                <a:cxn ang="0">
                  <a:pos x="26" y="38"/>
                </a:cxn>
                <a:cxn ang="0">
                  <a:pos x="0" y="228"/>
                </a:cxn>
                <a:cxn ang="0">
                  <a:pos x="28" y="254"/>
                </a:cxn>
                <a:cxn ang="0">
                  <a:pos x="128" y="238"/>
                </a:cxn>
                <a:cxn ang="0">
                  <a:pos x="126" y="54"/>
                </a:cxn>
                <a:cxn ang="0">
                  <a:pos x="114" y="4"/>
                </a:cxn>
                <a:cxn ang="0">
                  <a:pos x="96" y="4"/>
                </a:cxn>
                <a:cxn ang="0">
                  <a:pos x="74" y="20"/>
                </a:cxn>
                <a:cxn ang="0">
                  <a:pos x="24" y="236"/>
                </a:cxn>
                <a:cxn ang="0">
                  <a:pos x="24" y="218"/>
                </a:cxn>
                <a:cxn ang="0">
                  <a:pos x="40" y="218"/>
                </a:cxn>
                <a:cxn ang="0">
                  <a:pos x="40" y="236"/>
                </a:cxn>
                <a:cxn ang="0">
                  <a:pos x="32" y="210"/>
                </a:cxn>
                <a:cxn ang="0">
                  <a:pos x="20" y="198"/>
                </a:cxn>
                <a:cxn ang="0">
                  <a:pos x="32" y="186"/>
                </a:cxn>
                <a:cxn ang="0">
                  <a:pos x="44" y="198"/>
                </a:cxn>
                <a:cxn ang="0">
                  <a:pos x="32" y="210"/>
                </a:cxn>
                <a:cxn ang="0">
                  <a:pos x="22" y="174"/>
                </a:cxn>
                <a:cxn ang="0">
                  <a:pos x="28" y="158"/>
                </a:cxn>
                <a:cxn ang="0">
                  <a:pos x="44" y="164"/>
                </a:cxn>
                <a:cxn ang="0">
                  <a:pos x="38" y="180"/>
                </a:cxn>
                <a:cxn ang="0">
                  <a:pos x="60" y="238"/>
                </a:cxn>
                <a:cxn ang="0">
                  <a:pos x="54" y="222"/>
                </a:cxn>
                <a:cxn ang="0">
                  <a:pos x="70" y="216"/>
                </a:cxn>
                <a:cxn ang="0">
                  <a:pos x="76" y="232"/>
                </a:cxn>
                <a:cxn ang="0">
                  <a:pos x="64" y="210"/>
                </a:cxn>
                <a:cxn ang="0">
                  <a:pos x="52" y="198"/>
                </a:cxn>
                <a:cxn ang="0">
                  <a:pos x="64" y="186"/>
                </a:cxn>
                <a:cxn ang="0">
                  <a:pos x="76" y="198"/>
                </a:cxn>
                <a:cxn ang="0">
                  <a:pos x="64" y="210"/>
                </a:cxn>
                <a:cxn ang="0">
                  <a:pos x="56" y="178"/>
                </a:cxn>
                <a:cxn ang="0">
                  <a:pos x="56" y="160"/>
                </a:cxn>
                <a:cxn ang="0">
                  <a:pos x="74" y="160"/>
                </a:cxn>
                <a:cxn ang="0">
                  <a:pos x="74" y="178"/>
                </a:cxn>
                <a:cxn ang="0">
                  <a:pos x="96" y="240"/>
                </a:cxn>
                <a:cxn ang="0">
                  <a:pos x="84" y="228"/>
                </a:cxn>
                <a:cxn ang="0">
                  <a:pos x="96" y="216"/>
                </a:cxn>
                <a:cxn ang="0">
                  <a:pos x="108" y="228"/>
                </a:cxn>
                <a:cxn ang="0">
                  <a:pos x="96" y="240"/>
                </a:cxn>
                <a:cxn ang="0">
                  <a:pos x="86" y="202"/>
                </a:cxn>
                <a:cxn ang="0">
                  <a:pos x="92" y="186"/>
                </a:cxn>
                <a:cxn ang="0">
                  <a:pos x="108" y="194"/>
                </a:cxn>
                <a:cxn ang="0">
                  <a:pos x="102" y="208"/>
                </a:cxn>
                <a:cxn ang="0">
                  <a:pos x="92" y="180"/>
                </a:cxn>
                <a:cxn ang="0">
                  <a:pos x="86" y="164"/>
                </a:cxn>
                <a:cxn ang="0">
                  <a:pos x="102" y="158"/>
                </a:cxn>
                <a:cxn ang="0">
                  <a:pos x="108" y="174"/>
                </a:cxn>
                <a:cxn ang="0">
                  <a:pos x="110" y="110"/>
                </a:cxn>
                <a:cxn ang="0">
                  <a:pos x="84" y="138"/>
                </a:cxn>
                <a:cxn ang="0">
                  <a:pos x="20" y="122"/>
                </a:cxn>
                <a:cxn ang="0">
                  <a:pos x="26" y="64"/>
                </a:cxn>
                <a:cxn ang="0">
                  <a:pos x="94" y="58"/>
                </a:cxn>
              </a:cxnLst>
              <a:rect l="0" t="0" r="r" b="b"/>
              <a:pathLst>
                <a:path w="130" h="254">
                  <a:moveTo>
                    <a:pt x="64" y="18"/>
                  </a:moveTo>
                  <a:lnTo>
                    <a:pt x="64" y="18"/>
                  </a:lnTo>
                  <a:lnTo>
                    <a:pt x="56" y="20"/>
                  </a:lnTo>
                  <a:lnTo>
                    <a:pt x="48" y="24"/>
                  </a:lnTo>
                  <a:lnTo>
                    <a:pt x="26" y="38"/>
                  </a:lnTo>
                  <a:lnTo>
                    <a:pt x="16" y="46"/>
                  </a:lnTo>
                  <a:lnTo>
                    <a:pt x="8" y="54"/>
                  </a:lnTo>
                  <a:lnTo>
                    <a:pt x="2" y="62"/>
                  </a:lnTo>
                  <a:lnTo>
                    <a:pt x="0" y="68"/>
                  </a:lnTo>
                  <a:lnTo>
                    <a:pt x="0" y="228"/>
                  </a:lnTo>
                  <a:lnTo>
                    <a:pt x="0" y="228"/>
                  </a:lnTo>
                  <a:lnTo>
                    <a:pt x="2" y="238"/>
                  </a:lnTo>
                  <a:lnTo>
                    <a:pt x="8" y="246"/>
                  </a:lnTo>
                  <a:lnTo>
                    <a:pt x="16" y="252"/>
                  </a:lnTo>
                  <a:lnTo>
                    <a:pt x="28" y="254"/>
                  </a:lnTo>
                  <a:lnTo>
                    <a:pt x="102" y="254"/>
                  </a:lnTo>
                  <a:lnTo>
                    <a:pt x="102" y="254"/>
                  </a:lnTo>
                  <a:lnTo>
                    <a:pt x="112" y="252"/>
                  </a:lnTo>
                  <a:lnTo>
                    <a:pt x="122" y="246"/>
                  </a:lnTo>
                  <a:lnTo>
                    <a:pt x="128" y="238"/>
                  </a:lnTo>
                  <a:lnTo>
                    <a:pt x="130" y="228"/>
                  </a:lnTo>
                  <a:lnTo>
                    <a:pt x="130" y="68"/>
                  </a:lnTo>
                  <a:lnTo>
                    <a:pt x="130" y="68"/>
                  </a:lnTo>
                  <a:lnTo>
                    <a:pt x="128" y="60"/>
                  </a:lnTo>
                  <a:lnTo>
                    <a:pt x="126" y="54"/>
                  </a:lnTo>
                  <a:lnTo>
                    <a:pt x="120" y="48"/>
                  </a:lnTo>
                  <a:lnTo>
                    <a:pt x="116" y="44"/>
                  </a:lnTo>
                  <a:lnTo>
                    <a:pt x="116" y="8"/>
                  </a:lnTo>
                  <a:lnTo>
                    <a:pt x="116" y="8"/>
                  </a:lnTo>
                  <a:lnTo>
                    <a:pt x="114" y="4"/>
                  </a:lnTo>
                  <a:lnTo>
                    <a:pt x="112" y="2"/>
                  </a:lnTo>
                  <a:lnTo>
                    <a:pt x="106" y="0"/>
                  </a:lnTo>
                  <a:lnTo>
                    <a:pt x="106" y="0"/>
                  </a:lnTo>
                  <a:lnTo>
                    <a:pt x="98" y="2"/>
                  </a:lnTo>
                  <a:lnTo>
                    <a:pt x="96" y="4"/>
                  </a:lnTo>
                  <a:lnTo>
                    <a:pt x="96" y="8"/>
                  </a:lnTo>
                  <a:lnTo>
                    <a:pt x="96" y="34"/>
                  </a:lnTo>
                  <a:lnTo>
                    <a:pt x="96" y="34"/>
                  </a:lnTo>
                  <a:lnTo>
                    <a:pt x="86" y="26"/>
                  </a:lnTo>
                  <a:lnTo>
                    <a:pt x="74" y="20"/>
                  </a:lnTo>
                  <a:lnTo>
                    <a:pt x="64" y="18"/>
                  </a:lnTo>
                  <a:close/>
                  <a:moveTo>
                    <a:pt x="32" y="240"/>
                  </a:moveTo>
                  <a:lnTo>
                    <a:pt x="32" y="240"/>
                  </a:lnTo>
                  <a:lnTo>
                    <a:pt x="28" y="238"/>
                  </a:lnTo>
                  <a:lnTo>
                    <a:pt x="24" y="236"/>
                  </a:lnTo>
                  <a:lnTo>
                    <a:pt x="22" y="232"/>
                  </a:lnTo>
                  <a:lnTo>
                    <a:pt x="20" y="228"/>
                  </a:lnTo>
                  <a:lnTo>
                    <a:pt x="20" y="228"/>
                  </a:lnTo>
                  <a:lnTo>
                    <a:pt x="22" y="222"/>
                  </a:lnTo>
                  <a:lnTo>
                    <a:pt x="24" y="218"/>
                  </a:lnTo>
                  <a:lnTo>
                    <a:pt x="28" y="216"/>
                  </a:lnTo>
                  <a:lnTo>
                    <a:pt x="32" y="216"/>
                  </a:lnTo>
                  <a:lnTo>
                    <a:pt x="32" y="216"/>
                  </a:lnTo>
                  <a:lnTo>
                    <a:pt x="38" y="216"/>
                  </a:lnTo>
                  <a:lnTo>
                    <a:pt x="40" y="218"/>
                  </a:lnTo>
                  <a:lnTo>
                    <a:pt x="44" y="222"/>
                  </a:lnTo>
                  <a:lnTo>
                    <a:pt x="44" y="228"/>
                  </a:lnTo>
                  <a:lnTo>
                    <a:pt x="44" y="228"/>
                  </a:lnTo>
                  <a:lnTo>
                    <a:pt x="44" y="232"/>
                  </a:lnTo>
                  <a:lnTo>
                    <a:pt x="40" y="236"/>
                  </a:lnTo>
                  <a:lnTo>
                    <a:pt x="38" y="238"/>
                  </a:lnTo>
                  <a:lnTo>
                    <a:pt x="32" y="240"/>
                  </a:lnTo>
                  <a:lnTo>
                    <a:pt x="32" y="240"/>
                  </a:lnTo>
                  <a:close/>
                  <a:moveTo>
                    <a:pt x="32" y="210"/>
                  </a:moveTo>
                  <a:lnTo>
                    <a:pt x="32" y="210"/>
                  </a:lnTo>
                  <a:lnTo>
                    <a:pt x="28" y="208"/>
                  </a:lnTo>
                  <a:lnTo>
                    <a:pt x="24" y="206"/>
                  </a:lnTo>
                  <a:lnTo>
                    <a:pt x="22" y="202"/>
                  </a:lnTo>
                  <a:lnTo>
                    <a:pt x="20" y="198"/>
                  </a:lnTo>
                  <a:lnTo>
                    <a:pt x="20" y="198"/>
                  </a:lnTo>
                  <a:lnTo>
                    <a:pt x="22" y="194"/>
                  </a:lnTo>
                  <a:lnTo>
                    <a:pt x="24" y="190"/>
                  </a:lnTo>
                  <a:lnTo>
                    <a:pt x="28" y="186"/>
                  </a:lnTo>
                  <a:lnTo>
                    <a:pt x="32" y="186"/>
                  </a:lnTo>
                  <a:lnTo>
                    <a:pt x="32" y="186"/>
                  </a:lnTo>
                  <a:lnTo>
                    <a:pt x="38" y="186"/>
                  </a:lnTo>
                  <a:lnTo>
                    <a:pt x="40" y="190"/>
                  </a:lnTo>
                  <a:lnTo>
                    <a:pt x="44" y="194"/>
                  </a:lnTo>
                  <a:lnTo>
                    <a:pt x="44" y="198"/>
                  </a:lnTo>
                  <a:lnTo>
                    <a:pt x="44" y="198"/>
                  </a:lnTo>
                  <a:lnTo>
                    <a:pt x="44" y="202"/>
                  </a:lnTo>
                  <a:lnTo>
                    <a:pt x="40" y="206"/>
                  </a:lnTo>
                  <a:lnTo>
                    <a:pt x="38" y="208"/>
                  </a:lnTo>
                  <a:lnTo>
                    <a:pt x="32" y="210"/>
                  </a:lnTo>
                  <a:lnTo>
                    <a:pt x="32" y="210"/>
                  </a:lnTo>
                  <a:close/>
                  <a:moveTo>
                    <a:pt x="32" y="180"/>
                  </a:moveTo>
                  <a:lnTo>
                    <a:pt x="32" y="180"/>
                  </a:lnTo>
                  <a:lnTo>
                    <a:pt x="28" y="180"/>
                  </a:lnTo>
                  <a:lnTo>
                    <a:pt x="24" y="178"/>
                  </a:lnTo>
                  <a:lnTo>
                    <a:pt x="22" y="174"/>
                  </a:lnTo>
                  <a:lnTo>
                    <a:pt x="20" y="168"/>
                  </a:lnTo>
                  <a:lnTo>
                    <a:pt x="20" y="168"/>
                  </a:lnTo>
                  <a:lnTo>
                    <a:pt x="22" y="164"/>
                  </a:lnTo>
                  <a:lnTo>
                    <a:pt x="24" y="160"/>
                  </a:lnTo>
                  <a:lnTo>
                    <a:pt x="28" y="158"/>
                  </a:lnTo>
                  <a:lnTo>
                    <a:pt x="32" y="156"/>
                  </a:lnTo>
                  <a:lnTo>
                    <a:pt x="32" y="156"/>
                  </a:lnTo>
                  <a:lnTo>
                    <a:pt x="38" y="158"/>
                  </a:lnTo>
                  <a:lnTo>
                    <a:pt x="40" y="160"/>
                  </a:lnTo>
                  <a:lnTo>
                    <a:pt x="44" y="164"/>
                  </a:lnTo>
                  <a:lnTo>
                    <a:pt x="44" y="168"/>
                  </a:lnTo>
                  <a:lnTo>
                    <a:pt x="44" y="168"/>
                  </a:lnTo>
                  <a:lnTo>
                    <a:pt x="44" y="174"/>
                  </a:lnTo>
                  <a:lnTo>
                    <a:pt x="40" y="178"/>
                  </a:lnTo>
                  <a:lnTo>
                    <a:pt x="38" y="180"/>
                  </a:lnTo>
                  <a:lnTo>
                    <a:pt x="32" y="180"/>
                  </a:lnTo>
                  <a:lnTo>
                    <a:pt x="32" y="180"/>
                  </a:lnTo>
                  <a:close/>
                  <a:moveTo>
                    <a:pt x="64" y="240"/>
                  </a:moveTo>
                  <a:lnTo>
                    <a:pt x="64" y="240"/>
                  </a:lnTo>
                  <a:lnTo>
                    <a:pt x="60" y="238"/>
                  </a:lnTo>
                  <a:lnTo>
                    <a:pt x="56" y="236"/>
                  </a:lnTo>
                  <a:lnTo>
                    <a:pt x="54" y="232"/>
                  </a:lnTo>
                  <a:lnTo>
                    <a:pt x="52" y="228"/>
                  </a:lnTo>
                  <a:lnTo>
                    <a:pt x="52" y="228"/>
                  </a:lnTo>
                  <a:lnTo>
                    <a:pt x="54" y="222"/>
                  </a:lnTo>
                  <a:lnTo>
                    <a:pt x="56" y="218"/>
                  </a:lnTo>
                  <a:lnTo>
                    <a:pt x="60" y="216"/>
                  </a:lnTo>
                  <a:lnTo>
                    <a:pt x="64" y="216"/>
                  </a:lnTo>
                  <a:lnTo>
                    <a:pt x="64" y="216"/>
                  </a:lnTo>
                  <a:lnTo>
                    <a:pt x="70" y="216"/>
                  </a:lnTo>
                  <a:lnTo>
                    <a:pt x="74" y="218"/>
                  </a:lnTo>
                  <a:lnTo>
                    <a:pt x="76" y="222"/>
                  </a:lnTo>
                  <a:lnTo>
                    <a:pt x="76" y="228"/>
                  </a:lnTo>
                  <a:lnTo>
                    <a:pt x="76" y="228"/>
                  </a:lnTo>
                  <a:lnTo>
                    <a:pt x="76" y="232"/>
                  </a:lnTo>
                  <a:lnTo>
                    <a:pt x="74" y="236"/>
                  </a:lnTo>
                  <a:lnTo>
                    <a:pt x="70" y="238"/>
                  </a:lnTo>
                  <a:lnTo>
                    <a:pt x="64" y="240"/>
                  </a:lnTo>
                  <a:lnTo>
                    <a:pt x="64" y="240"/>
                  </a:lnTo>
                  <a:close/>
                  <a:moveTo>
                    <a:pt x="64" y="210"/>
                  </a:moveTo>
                  <a:lnTo>
                    <a:pt x="64" y="210"/>
                  </a:lnTo>
                  <a:lnTo>
                    <a:pt x="60" y="208"/>
                  </a:lnTo>
                  <a:lnTo>
                    <a:pt x="56" y="206"/>
                  </a:lnTo>
                  <a:lnTo>
                    <a:pt x="54" y="202"/>
                  </a:lnTo>
                  <a:lnTo>
                    <a:pt x="52" y="198"/>
                  </a:lnTo>
                  <a:lnTo>
                    <a:pt x="52" y="198"/>
                  </a:lnTo>
                  <a:lnTo>
                    <a:pt x="54" y="194"/>
                  </a:lnTo>
                  <a:lnTo>
                    <a:pt x="56" y="190"/>
                  </a:lnTo>
                  <a:lnTo>
                    <a:pt x="60" y="186"/>
                  </a:lnTo>
                  <a:lnTo>
                    <a:pt x="64" y="186"/>
                  </a:lnTo>
                  <a:lnTo>
                    <a:pt x="64" y="186"/>
                  </a:lnTo>
                  <a:lnTo>
                    <a:pt x="70" y="186"/>
                  </a:lnTo>
                  <a:lnTo>
                    <a:pt x="74" y="190"/>
                  </a:lnTo>
                  <a:lnTo>
                    <a:pt x="76" y="194"/>
                  </a:lnTo>
                  <a:lnTo>
                    <a:pt x="76" y="198"/>
                  </a:lnTo>
                  <a:lnTo>
                    <a:pt x="76" y="198"/>
                  </a:lnTo>
                  <a:lnTo>
                    <a:pt x="76" y="202"/>
                  </a:lnTo>
                  <a:lnTo>
                    <a:pt x="74" y="206"/>
                  </a:lnTo>
                  <a:lnTo>
                    <a:pt x="70" y="208"/>
                  </a:lnTo>
                  <a:lnTo>
                    <a:pt x="64" y="210"/>
                  </a:lnTo>
                  <a:lnTo>
                    <a:pt x="64" y="210"/>
                  </a:lnTo>
                  <a:close/>
                  <a:moveTo>
                    <a:pt x="64" y="180"/>
                  </a:moveTo>
                  <a:lnTo>
                    <a:pt x="64" y="180"/>
                  </a:lnTo>
                  <a:lnTo>
                    <a:pt x="60" y="180"/>
                  </a:lnTo>
                  <a:lnTo>
                    <a:pt x="56" y="178"/>
                  </a:lnTo>
                  <a:lnTo>
                    <a:pt x="54" y="174"/>
                  </a:lnTo>
                  <a:lnTo>
                    <a:pt x="52" y="168"/>
                  </a:lnTo>
                  <a:lnTo>
                    <a:pt x="52" y="168"/>
                  </a:lnTo>
                  <a:lnTo>
                    <a:pt x="54" y="164"/>
                  </a:lnTo>
                  <a:lnTo>
                    <a:pt x="56" y="160"/>
                  </a:lnTo>
                  <a:lnTo>
                    <a:pt x="60" y="158"/>
                  </a:lnTo>
                  <a:lnTo>
                    <a:pt x="64" y="156"/>
                  </a:lnTo>
                  <a:lnTo>
                    <a:pt x="64" y="156"/>
                  </a:lnTo>
                  <a:lnTo>
                    <a:pt x="70" y="158"/>
                  </a:lnTo>
                  <a:lnTo>
                    <a:pt x="74" y="160"/>
                  </a:lnTo>
                  <a:lnTo>
                    <a:pt x="76" y="164"/>
                  </a:lnTo>
                  <a:lnTo>
                    <a:pt x="76" y="168"/>
                  </a:lnTo>
                  <a:lnTo>
                    <a:pt x="76" y="168"/>
                  </a:lnTo>
                  <a:lnTo>
                    <a:pt x="76" y="174"/>
                  </a:lnTo>
                  <a:lnTo>
                    <a:pt x="74" y="178"/>
                  </a:lnTo>
                  <a:lnTo>
                    <a:pt x="70" y="180"/>
                  </a:lnTo>
                  <a:lnTo>
                    <a:pt x="64" y="180"/>
                  </a:lnTo>
                  <a:lnTo>
                    <a:pt x="64" y="180"/>
                  </a:lnTo>
                  <a:close/>
                  <a:moveTo>
                    <a:pt x="96" y="240"/>
                  </a:moveTo>
                  <a:lnTo>
                    <a:pt x="96" y="240"/>
                  </a:lnTo>
                  <a:lnTo>
                    <a:pt x="92" y="238"/>
                  </a:lnTo>
                  <a:lnTo>
                    <a:pt x="88" y="236"/>
                  </a:lnTo>
                  <a:lnTo>
                    <a:pt x="86" y="232"/>
                  </a:lnTo>
                  <a:lnTo>
                    <a:pt x="84" y="228"/>
                  </a:lnTo>
                  <a:lnTo>
                    <a:pt x="84" y="228"/>
                  </a:lnTo>
                  <a:lnTo>
                    <a:pt x="86" y="222"/>
                  </a:lnTo>
                  <a:lnTo>
                    <a:pt x="88" y="218"/>
                  </a:lnTo>
                  <a:lnTo>
                    <a:pt x="92" y="216"/>
                  </a:lnTo>
                  <a:lnTo>
                    <a:pt x="96" y="216"/>
                  </a:lnTo>
                  <a:lnTo>
                    <a:pt x="96" y="216"/>
                  </a:lnTo>
                  <a:lnTo>
                    <a:pt x="102" y="216"/>
                  </a:lnTo>
                  <a:lnTo>
                    <a:pt x="106" y="218"/>
                  </a:lnTo>
                  <a:lnTo>
                    <a:pt x="108" y="222"/>
                  </a:lnTo>
                  <a:lnTo>
                    <a:pt x="108" y="228"/>
                  </a:lnTo>
                  <a:lnTo>
                    <a:pt x="108" y="228"/>
                  </a:lnTo>
                  <a:lnTo>
                    <a:pt x="108" y="232"/>
                  </a:lnTo>
                  <a:lnTo>
                    <a:pt x="106" y="236"/>
                  </a:lnTo>
                  <a:lnTo>
                    <a:pt x="102" y="238"/>
                  </a:lnTo>
                  <a:lnTo>
                    <a:pt x="96" y="240"/>
                  </a:lnTo>
                  <a:lnTo>
                    <a:pt x="96" y="240"/>
                  </a:lnTo>
                  <a:close/>
                  <a:moveTo>
                    <a:pt x="96" y="210"/>
                  </a:moveTo>
                  <a:lnTo>
                    <a:pt x="96" y="210"/>
                  </a:lnTo>
                  <a:lnTo>
                    <a:pt x="92" y="208"/>
                  </a:lnTo>
                  <a:lnTo>
                    <a:pt x="88" y="206"/>
                  </a:lnTo>
                  <a:lnTo>
                    <a:pt x="86" y="202"/>
                  </a:lnTo>
                  <a:lnTo>
                    <a:pt x="84" y="198"/>
                  </a:lnTo>
                  <a:lnTo>
                    <a:pt x="84" y="198"/>
                  </a:lnTo>
                  <a:lnTo>
                    <a:pt x="86" y="194"/>
                  </a:lnTo>
                  <a:lnTo>
                    <a:pt x="88" y="190"/>
                  </a:lnTo>
                  <a:lnTo>
                    <a:pt x="92" y="186"/>
                  </a:lnTo>
                  <a:lnTo>
                    <a:pt x="96" y="186"/>
                  </a:lnTo>
                  <a:lnTo>
                    <a:pt x="96" y="186"/>
                  </a:lnTo>
                  <a:lnTo>
                    <a:pt x="102" y="186"/>
                  </a:lnTo>
                  <a:lnTo>
                    <a:pt x="106" y="190"/>
                  </a:lnTo>
                  <a:lnTo>
                    <a:pt x="108" y="194"/>
                  </a:lnTo>
                  <a:lnTo>
                    <a:pt x="108" y="198"/>
                  </a:lnTo>
                  <a:lnTo>
                    <a:pt x="108" y="198"/>
                  </a:lnTo>
                  <a:lnTo>
                    <a:pt x="108" y="202"/>
                  </a:lnTo>
                  <a:lnTo>
                    <a:pt x="106" y="206"/>
                  </a:lnTo>
                  <a:lnTo>
                    <a:pt x="102" y="208"/>
                  </a:lnTo>
                  <a:lnTo>
                    <a:pt x="96" y="210"/>
                  </a:lnTo>
                  <a:lnTo>
                    <a:pt x="96" y="210"/>
                  </a:lnTo>
                  <a:close/>
                  <a:moveTo>
                    <a:pt x="96" y="180"/>
                  </a:moveTo>
                  <a:lnTo>
                    <a:pt x="96" y="180"/>
                  </a:lnTo>
                  <a:lnTo>
                    <a:pt x="92" y="180"/>
                  </a:lnTo>
                  <a:lnTo>
                    <a:pt x="88" y="178"/>
                  </a:lnTo>
                  <a:lnTo>
                    <a:pt x="86" y="174"/>
                  </a:lnTo>
                  <a:lnTo>
                    <a:pt x="84" y="168"/>
                  </a:lnTo>
                  <a:lnTo>
                    <a:pt x="84" y="168"/>
                  </a:lnTo>
                  <a:lnTo>
                    <a:pt x="86" y="164"/>
                  </a:lnTo>
                  <a:lnTo>
                    <a:pt x="88" y="160"/>
                  </a:lnTo>
                  <a:lnTo>
                    <a:pt x="92" y="158"/>
                  </a:lnTo>
                  <a:lnTo>
                    <a:pt x="96" y="156"/>
                  </a:lnTo>
                  <a:lnTo>
                    <a:pt x="96" y="156"/>
                  </a:lnTo>
                  <a:lnTo>
                    <a:pt x="102" y="158"/>
                  </a:lnTo>
                  <a:lnTo>
                    <a:pt x="106" y="160"/>
                  </a:lnTo>
                  <a:lnTo>
                    <a:pt x="108" y="164"/>
                  </a:lnTo>
                  <a:lnTo>
                    <a:pt x="108" y="168"/>
                  </a:lnTo>
                  <a:lnTo>
                    <a:pt x="108" y="168"/>
                  </a:lnTo>
                  <a:lnTo>
                    <a:pt x="108" y="174"/>
                  </a:lnTo>
                  <a:lnTo>
                    <a:pt x="106" y="178"/>
                  </a:lnTo>
                  <a:lnTo>
                    <a:pt x="102" y="180"/>
                  </a:lnTo>
                  <a:lnTo>
                    <a:pt x="96" y="180"/>
                  </a:lnTo>
                  <a:lnTo>
                    <a:pt x="96" y="180"/>
                  </a:lnTo>
                  <a:close/>
                  <a:moveTo>
                    <a:pt x="110" y="110"/>
                  </a:moveTo>
                  <a:lnTo>
                    <a:pt x="110" y="110"/>
                  </a:lnTo>
                  <a:lnTo>
                    <a:pt x="108" y="122"/>
                  </a:lnTo>
                  <a:lnTo>
                    <a:pt x="102" y="130"/>
                  </a:lnTo>
                  <a:lnTo>
                    <a:pt x="94" y="136"/>
                  </a:lnTo>
                  <a:lnTo>
                    <a:pt x="84" y="138"/>
                  </a:lnTo>
                  <a:lnTo>
                    <a:pt x="46" y="138"/>
                  </a:lnTo>
                  <a:lnTo>
                    <a:pt x="46" y="138"/>
                  </a:lnTo>
                  <a:lnTo>
                    <a:pt x="36" y="136"/>
                  </a:lnTo>
                  <a:lnTo>
                    <a:pt x="26" y="130"/>
                  </a:lnTo>
                  <a:lnTo>
                    <a:pt x="20" y="122"/>
                  </a:lnTo>
                  <a:lnTo>
                    <a:pt x="18" y="110"/>
                  </a:lnTo>
                  <a:lnTo>
                    <a:pt x="18" y="84"/>
                  </a:lnTo>
                  <a:lnTo>
                    <a:pt x="18" y="84"/>
                  </a:lnTo>
                  <a:lnTo>
                    <a:pt x="20" y="72"/>
                  </a:lnTo>
                  <a:lnTo>
                    <a:pt x="26" y="64"/>
                  </a:lnTo>
                  <a:lnTo>
                    <a:pt x="36" y="58"/>
                  </a:lnTo>
                  <a:lnTo>
                    <a:pt x="46" y="56"/>
                  </a:lnTo>
                  <a:lnTo>
                    <a:pt x="84" y="56"/>
                  </a:lnTo>
                  <a:lnTo>
                    <a:pt x="84" y="56"/>
                  </a:lnTo>
                  <a:lnTo>
                    <a:pt x="94" y="58"/>
                  </a:lnTo>
                  <a:lnTo>
                    <a:pt x="102" y="64"/>
                  </a:lnTo>
                  <a:lnTo>
                    <a:pt x="108" y="72"/>
                  </a:lnTo>
                  <a:lnTo>
                    <a:pt x="110" y="84"/>
                  </a:lnTo>
                  <a:lnTo>
                    <a:pt x="110" y="110"/>
                  </a:lnTo>
                  <a:close/>
                </a:path>
              </a:pathLst>
            </a:custGeom>
            <a:solidFill>
              <a:sysClr val="windowText" lastClr="000000">
                <a:lumMod val="75000"/>
                <a:lumOff val="25000"/>
              </a:sysClr>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83" name="Freeform 82"/>
            <p:cNvSpPr>
              <a:spLocks noEditPoints="1"/>
            </p:cNvSpPr>
            <p:nvPr/>
          </p:nvSpPr>
          <p:spPr bwMode="auto">
            <a:xfrm>
              <a:off x="2504126" y="1761707"/>
              <a:ext cx="81247" cy="171676"/>
            </a:xfrm>
            <a:custGeom>
              <a:avLst/>
              <a:gdLst/>
              <a:ahLst/>
              <a:cxnLst>
                <a:cxn ang="0">
                  <a:pos x="26" y="38"/>
                </a:cxn>
                <a:cxn ang="0">
                  <a:pos x="0" y="228"/>
                </a:cxn>
                <a:cxn ang="0">
                  <a:pos x="28" y="254"/>
                </a:cxn>
                <a:cxn ang="0">
                  <a:pos x="128" y="238"/>
                </a:cxn>
                <a:cxn ang="0">
                  <a:pos x="126" y="54"/>
                </a:cxn>
                <a:cxn ang="0">
                  <a:pos x="114" y="4"/>
                </a:cxn>
                <a:cxn ang="0">
                  <a:pos x="96" y="4"/>
                </a:cxn>
                <a:cxn ang="0">
                  <a:pos x="74" y="20"/>
                </a:cxn>
                <a:cxn ang="0">
                  <a:pos x="24" y="236"/>
                </a:cxn>
                <a:cxn ang="0">
                  <a:pos x="24" y="218"/>
                </a:cxn>
                <a:cxn ang="0">
                  <a:pos x="40" y="218"/>
                </a:cxn>
                <a:cxn ang="0">
                  <a:pos x="40" y="236"/>
                </a:cxn>
                <a:cxn ang="0">
                  <a:pos x="32" y="210"/>
                </a:cxn>
                <a:cxn ang="0">
                  <a:pos x="20" y="198"/>
                </a:cxn>
                <a:cxn ang="0">
                  <a:pos x="32" y="186"/>
                </a:cxn>
                <a:cxn ang="0">
                  <a:pos x="44" y="198"/>
                </a:cxn>
                <a:cxn ang="0">
                  <a:pos x="32" y="210"/>
                </a:cxn>
                <a:cxn ang="0">
                  <a:pos x="22" y="174"/>
                </a:cxn>
                <a:cxn ang="0">
                  <a:pos x="28" y="158"/>
                </a:cxn>
                <a:cxn ang="0">
                  <a:pos x="44" y="164"/>
                </a:cxn>
                <a:cxn ang="0">
                  <a:pos x="38" y="180"/>
                </a:cxn>
                <a:cxn ang="0">
                  <a:pos x="60" y="238"/>
                </a:cxn>
                <a:cxn ang="0">
                  <a:pos x="54" y="222"/>
                </a:cxn>
                <a:cxn ang="0">
                  <a:pos x="70" y="216"/>
                </a:cxn>
                <a:cxn ang="0">
                  <a:pos x="76" y="232"/>
                </a:cxn>
                <a:cxn ang="0">
                  <a:pos x="64" y="210"/>
                </a:cxn>
                <a:cxn ang="0">
                  <a:pos x="52" y="198"/>
                </a:cxn>
                <a:cxn ang="0">
                  <a:pos x="64" y="186"/>
                </a:cxn>
                <a:cxn ang="0">
                  <a:pos x="76" y="198"/>
                </a:cxn>
                <a:cxn ang="0">
                  <a:pos x="64" y="210"/>
                </a:cxn>
                <a:cxn ang="0">
                  <a:pos x="56" y="178"/>
                </a:cxn>
                <a:cxn ang="0">
                  <a:pos x="56" y="160"/>
                </a:cxn>
                <a:cxn ang="0">
                  <a:pos x="74" y="160"/>
                </a:cxn>
                <a:cxn ang="0">
                  <a:pos x="74" y="178"/>
                </a:cxn>
                <a:cxn ang="0">
                  <a:pos x="96" y="240"/>
                </a:cxn>
                <a:cxn ang="0">
                  <a:pos x="84" y="228"/>
                </a:cxn>
                <a:cxn ang="0">
                  <a:pos x="96" y="216"/>
                </a:cxn>
                <a:cxn ang="0">
                  <a:pos x="108" y="228"/>
                </a:cxn>
                <a:cxn ang="0">
                  <a:pos x="96" y="240"/>
                </a:cxn>
                <a:cxn ang="0">
                  <a:pos x="86" y="202"/>
                </a:cxn>
                <a:cxn ang="0">
                  <a:pos x="92" y="186"/>
                </a:cxn>
                <a:cxn ang="0">
                  <a:pos x="108" y="194"/>
                </a:cxn>
                <a:cxn ang="0">
                  <a:pos x="102" y="208"/>
                </a:cxn>
                <a:cxn ang="0">
                  <a:pos x="92" y="180"/>
                </a:cxn>
                <a:cxn ang="0">
                  <a:pos x="86" y="164"/>
                </a:cxn>
                <a:cxn ang="0">
                  <a:pos x="102" y="158"/>
                </a:cxn>
                <a:cxn ang="0">
                  <a:pos x="108" y="174"/>
                </a:cxn>
                <a:cxn ang="0">
                  <a:pos x="110" y="110"/>
                </a:cxn>
                <a:cxn ang="0">
                  <a:pos x="84" y="138"/>
                </a:cxn>
                <a:cxn ang="0">
                  <a:pos x="20" y="122"/>
                </a:cxn>
                <a:cxn ang="0">
                  <a:pos x="26" y="64"/>
                </a:cxn>
                <a:cxn ang="0">
                  <a:pos x="94" y="58"/>
                </a:cxn>
              </a:cxnLst>
              <a:rect l="0" t="0" r="r" b="b"/>
              <a:pathLst>
                <a:path w="130" h="254">
                  <a:moveTo>
                    <a:pt x="64" y="18"/>
                  </a:moveTo>
                  <a:lnTo>
                    <a:pt x="64" y="18"/>
                  </a:lnTo>
                  <a:lnTo>
                    <a:pt x="56" y="20"/>
                  </a:lnTo>
                  <a:lnTo>
                    <a:pt x="48" y="24"/>
                  </a:lnTo>
                  <a:lnTo>
                    <a:pt x="26" y="38"/>
                  </a:lnTo>
                  <a:lnTo>
                    <a:pt x="16" y="46"/>
                  </a:lnTo>
                  <a:lnTo>
                    <a:pt x="8" y="54"/>
                  </a:lnTo>
                  <a:lnTo>
                    <a:pt x="2" y="62"/>
                  </a:lnTo>
                  <a:lnTo>
                    <a:pt x="0" y="68"/>
                  </a:lnTo>
                  <a:lnTo>
                    <a:pt x="0" y="228"/>
                  </a:lnTo>
                  <a:lnTo>
                    <a:pt x="0" y="228"/>
                  </a:lnTo>
                  <a:lnTo>
                    <a:pt x="2" y="238"/>
                  </a:lnTo>
                  <a:lnTo>
                    <a:pt x="8" y="246"/>
                  </a:lnTo>
                  <a:lnTo>
                    <a:pt x="16" y="252"/>
                  </a:lnTo>
                  <a:lnTo>
                    <a:pt x="28" y="254"/>
                  </a:lnTo>
                  <a:lnTo>
                    <a:pt x="102" y="254"/>
                  </a:lnTo>
                  <a:lnTo>
                    <a:pt x="102" y="254"/>
                  </a:lnTo>
                  <a:lnTo>
                    <a:pt x="112" y="252"/>
                  </a:lnTo>
                  <a:lnTo>
                    <a:pt x="122" y="246"/>
                  </a:lnTo>
                  <a:lnTo>
                    <a:pt x="128" y="238"/>
                  </a:lnTo>
                  <a:lnTo>
                    <a:pt x="130" y="228"/>
                  </a:lnTo>
                  <a:lnTo>
                    <a:pt x="130" y="68"/>
                  </a:lnTo>
                  <a:lnTo>
                    <a:pt x="130" y="68"/>
                  </a:lnTo>
                  <a:lnTo>
                    <a:pt x="128" y="60"/>
                  </a:lnTo>
                  <a:lnTo>
                    <a:pt x="126" y="54"/>
                  </a:lnTo>
                  <a:lnTo>
                    <a:pt x="120" y="48"/>
                  </a:lnTo>
                  <a:lnTo>
                    <a:pt x="116" y="44"/>
                  </a:lnTo>
                  <a:lnTo>
                    <a:pt x="116" y="8"/>
                  </a:lnTo>
                  <a:lnTo>
                    <a:pt x="116" y="8"/>
                  </a:lnTo>
                  <a:lnTo>
                    <a:pt x="114" y="4"/>
                  </a:lnTo>
                  <a:lnTo>
                    <a:pt x="112" y="2"/>
                  </a:lnTo>
                  <a:lnTo>
                    <a:pt x="106" y="0"/>
                  </a:lnTo>
                  <a:lnTo>
                    <a:pt x="106" y="0"/>
                  </a:lnTo>
                  <a:lnTo>
                    <a:pt x="98" y="2"/>
                  </a:lnTo>
                  <a:lnTo>
                    <a:pt x="96" y="4"/>
                  </a:lnTo>
                  <a:lnTo>
                    <a:pt x="96" y="8"/>
                  </a:lnTo>
                  <a:lnTo>
                    <a:pt x="96" y="34"/>
                  </a:lnTo>
                  <a:lnTo>
                    <a:pt x="96" y="34"/>
                  </a:lnTo>
                  <a:lnTo>
                    <a:pt x="86" y="26"/>
                  </a:lnTo>
                  <a:lnTo>
                    <a:pt x="74" y="20"/>
                  </a:lnTo>
                  <a:lnTo>
                    <a:pt x="64" y="18"/>
                  </a:lnTo>
                  <a:close/>
                  <a:moveTo>
                    <a:pt x="32" y="240"/>
                  </a:moveTo>
                  <a:lnTo>
                    <a:pt x="32" y="240"/>
                  </a:lnTo>
                  <a:lnTo>
                    <a:pt x="28" y="238"/>
                  </a:lnTo>
                  <a:lnTo>
                    <a:pt x="24" y="236"/>
                  </a:lnTo>
                  <a:lnTo>
                    <a:pt x="22" y="232"/>
                  </a:lnTo>
                  <a:lnTo>
                    <a:pt x="20" y="228"/>
                  </a:lnTo>
                  <a:lnTo>
                    <a:pt x="20" y="228"/>
                  </a:lnTo>
                  <a:lnTo>
                    <a:pt x="22" y="222"/>
                  </a:lnTo>
                  <a:lnTo>
                    <a:pt x="24" y="218"/>
                  </a:lnTo>
                  <a:lnTo>
                    <a:pt x="28" y="216"/>
                  </a:lnTo>
                  <a:lnTo>
                    <a:pt x="32" y="216"/>
                  </a:lnTo>
                  <a:lnTo>
                    <a:pt x="32" y="216"/>
                  </a:lnTo>
                  <a:lnTo>
                    <a:pt x="38" y="216"/>
                  </a:lnTo>
                  <a:lnTo>
                    <a:pt x="40" y="218"/>
                  </a:lnTo>
                  <a:lnTo>
                    <a:pt x="44" y="222"/>
                  </a:lnTo>
                  <a:lnTo>
                    <a:pt x="44" y="228"/>
                  </a:lnTo>
                  <a:lnTo>
                    <a:pt x="44" y="228"/>
                  </a:lnTo>
                  <a:lnTo>
                    <a:pt x="44" y="232"/>
                  </a:lnTo>
                  <a:lnTo>
                    <a:pt x="40" y="236"/>
                  </a:lnTo>
                  <a:lnTo>
                    <a:pt x="38" y="238"/>
                  </a:lnTo>
                  <a:lnTo>
                    <a:pt x="32" y="240"/>
                  </a:lnTo>
                  <a:lnTo>
                    <a:pt x="32" y="240"/>
                  </a:lnTo>
                  <a:close/>
                  <a:moveTo>
                    <a:pt x="32" y="210"/>
                  </a:moveTo>
                  <a:lnTo>
                    <a:pt x="32" y="210"/>
                  </a:lnTo>
                  <a:lnTo>
                    <a:pt x="28" y="208"/>
                  </a:lnTo>
                  <a:lnTo>
                    <a:pt x="24" y="206"/>
                  </a:lnTo>
                  <a:lnTo>
                    <a:pt x="22" y="202"/>
                  </a:lnTo>
                  <a:lnTo>
                    <a:pt x="20" y="198"/>
                  </a:lnTo>
                  <a:lnTo>
                    <a:pt x="20" y="198"/>
                  </a:lnTo>
                  <a:lnTo>
                    <a:pt x="22" y="194"/>
                  </a:lnTo>
                  <a:lnTo>
                    <a:pt x="24" y="190"/>
                  </a:lnTo>
                  <a:lnTo>
                    <a:pt x="28" y="186"/>
                  </a:lnTo>
                  <a:lnTo>
                    <a:pt x="32" y="186"/>
                  </a:lnTo>
                  <a:lnTo>
                    <a:pt x="32" y="186"/>
                  </a:lnTo>
                  <a:lnTo>
                    <a:pt x="38" y="186"/>
                  </a:lnTo>
                  <a:lnTo>
                    <a:pt x="40" y="190"/>
                  </a:lnTo>
                  <a:lnTo>
                    <a:pt x="44" y="194"/>
                  </a:lnTo>
                  <a:lnTo>
                    <a:pt x="44" y="198"/>
                  </a:lnTo>
                  <a:lnTo>
                    <a:pt x="44" y="198"/>
                  </a:lnTo>
                  <a:lnTo>
                    <a:pt x="44" y="202"/>
                  </a:lnTo>
                  <a:lnTo>
                    <a:pt x="40" y="206"/>
                  </a:lnTo>
                  <a:lnTo>
                    <a:pt x="38" y="208"/>
                  </a:lnTo>
                  <a:lnTo>
                    <a:pt x="32" y="210"/>
                  </a:lnTo>
                  <a:lnTo>
                    <a:pt x="32" y="210"/>
                  </a:lnTo>
                  <a:close/>
                  <a:moveTo>
                    <a:pt x="32" y="180"/>
                  </a:moveTo>
                  <a:lnTo>
                    <a:pt x="32" y="180"/>
                  </a:lnTo>
                  <a:lnTo>
                    <a:pt x="28" y="180"/>
                  </a:lnTo>
                  <a:lnTo>
                    <a:pt x="24" y="178"/>
                  </a:lnTo>
                  <a:lnTo>
                    <a:pt x="22" y="174"/>
                  </a:lnTo>
                  <a:lnTo>
                    <a:pt x="20" y="168"/>
                  </a:lnTo>
                  <a:lnTo>
                    <a:pt x="20" y="168"/>
                  </a:lnTo>
                  <a:lnTo>
                    <a:pt x="22" y="164"/>
                  </a:lnTo>
                  <a:lnTo>
                    <a:pt x="24" y="160"/>
                  </a:lnTo>
                  <a:lnTo>
                    <a:pt x="28" y="158"/>
                  </a:lnTo>
                  <a:lnTo>
                    <a:pt x="32" y="156"/>
                  </a:lnTo>
                  <a:lnTo>
                    <a:pt x="32" y="156"/>
                  </a:lnTo>
                  <a:lnTo>
                    <a:pt x="38" y="158"/>
                  </a:lnTo>
                  <a:lnTo>
                    <a:pt x="40" y="160"/>
                  </a:lnTo>
                  <a:lnTo>
                    <a:pt x="44" y="164"/>
                  </a:lnTo>
                  <a:lnTo>
                    <a:pt x="44" y="168"/>
                  </a:lnTo>
                  <a:lnTo>
                    <a:pt x="44" y="168"/>
                  </a:lnTo>
                  <a:lnTo>
                    <a:pt x="44" y="174"/>
                  </a:lnTo>
                  <a:lnTo>
                    <a:pt x="40" y="178"/>
                  </a:lnTo>
                  <a:lnTo>
                    <a:pt x="38" y="180"/>
                  </a:lnTo>
                  <a:lnTo>
                    <a:pt x="32" y="180"/>
                  </a:lnTo>
                  <a:lnTo>
                    <a:pt x="32" y="180"/>
                  </a:lnTo>
                  <a:close/>
                  <a:moveTo>
                    <a:pt x="64" y="240"/>
                  </a:moveTo>
                  <a:lnTo>
                    <a:pt x="64" y="240"/>
                  </a:lnTo>
                  <a:lnTo>
                    <a:pt x="60" y="238"/>
                  </a:lnTo>
                  <a:lnTo>
                    <a:pt x="56" y="236"/>
                  </a:lnTo>
                  <a:lnTo>
                    <a:pt x="54" y="232"/>
                  </a:lnTo>
                  <a:lnTo>
                    <a:pt x="52" y="228"/>
                  </a:lnTo>
                  <a:lnTo>
                    <a:pt x="52" y="228"/>
                  </a:lnTo>
                  <a:lnTo>
                    <a:pt x="54" y="222"/>
                  </a:lnTo>
                  <a:lnTo>
                    <a:pt x="56" y="218"/>
                  </a:lnTo>
                  <a:lnTo>
                    <a:pt x="60" y="216"/>
                  </a:lnTo>
                  <a:lnTo>
                    <a:pt x="64" y="216"/>
                  </a:lnTo>
                  <a:lnTo>
                    <a:pt x="64" y="216"/>
                  </a:lnTo>
                  <a:lnTo>
                    <a:pt x="70" y="216"/>
                  </a:lnTo>
                  <a:lnTo>
                    <a:pt x="74" y="218"/>
                  </a:lnTo>
                  <a:lnTo>
                    <a:pt x="76" y="222"/>
                  </a:lnTo>
                  <a:lnTo>
                    <a:pt x="76" y="228"/>
                  </a:lnTo>
                  <a:lnTo>
                    <a:pt x="76" y="228"/>
                  </a:lnTo>
                  <a:lnTo>
                    <a:pt x="76" y="232"/>
                  </a:lnTo>
                  <a:lnTo>
                    <a:pt x="74" y="236"/>
                  </a:lnTo>
                  <a:lnTo>
                    <a:pt x="70" y="238"/>
                  </a:lnTo>
                  <a:lnTo>
                    <a:pt x="64" y="240"/>
                  </a:lnTo>
                  <a:lnTo>
                    <a:pt x="64" y="240"/>
                  </a:lnTo>
                  <a:close/>
                  <a:moveTo>
                    <a:pt x="64" y="210"/>
                  </a:moveTo>
                  <a:lnTo>
                    <a:pt x="64" y="210"/>
                  </a:lnTo>
                  <a:lnTo>
                    <a:pt x="60" y="208"/>
                  </a:lnTo>
                  <a:lnTo>
                    <a:pt x="56" y="206"/>
                  </a:lnTo>
                  <a:lnTo>
                    <a:pt x="54" y="202"/>
                  </a:lnTo>
                  <a:lnTo>
                    <a:pt x="52" y="198"/>
                  </a:lnTo>
                  <a:lnTo>
                    <a:pt x="52" y="198"/>
                  </a:lnTo>
                  <a:lnTo>
                    <a:pt x="54" y="194"/>
                  </a:lnTo>
                  <a:lnTo>
                    <a:pt x="56" y="190"/>
                  </a:lnTo>
                  <a:lnTo>
                    <a:pt x="60" y="186"/>
                  </a:lnTo>
                  <a:lnTo>
                    <a:pt x="64" y="186"/>
                  </a:lnTo>
                  <a:lnTo>
                    <a:pt x="64" y="186"/>
                  </a:lnTo>
                  <a:lnTo>
                    <a:pt x="70" y="186"/>
                  </a:lnTo>
                  <a:lnTo>
                    <a:pt x="74" y="190"/>
                  </a:lnTo>
                  <a:lnTo>
                    <a:pt x="76" y="194"/>
                  </a:lnTo>
                  <a:lnTo>
                    <a:pt x="76" y="198"/>
                  </a:lnTo>
                  <a:lnTo>
                    <a:pt x="76" y="198"/>
                  </a:lnTo>
                  <a:lnTo>
                    <a:pt x="76" y="202"/>
                  </a:lnTo>
                  <a:lnTo>
                    <a:pt x="74" y="206"/>
                  </a:lnTo>
                  <a:lnTo>
                    <a:pt x="70" y="208"/>
                  </a:lnTo>
                  <a:lnTo>
                    <a:pt x="64" y="210"/>
                  </a:lnTo>
                  <a:lnTo>
                    <a:pt x="64" y="210"/>
                  </a:lnTo>
                  <a:close/>
                  <a:moveTo>
                    <a:pt x="64" y="180"/>
                  </a:moveTo>
                  <a:lnTo>
                    <a:pt x="64" y="180"/>
                  </a:lnTo>
                  <a:lnTo>
                    <a:pt x="60" y="180"/>
                  </a:lnTo>
                  <a:lnTo>
                    <a:pt x="56" y="178"/>
                  </a:lnTo>
                  <a:lnTo>
                    <a:pt x="54" y="174"/>
                  </a:lnTo>
                  <a:lnTo>
                    <a:pt x="52" y="168"/>
                  </a:lnTo>
                  <a:lnTo>
                    <a:pt x="52" y="168"/>
                  </a:lnTo>
                  <a:lnTo>
                    <a:pt x="54" y="164"/>
                  </a:lnTo>
                  <a:lnTo>
                    <a:pt x="56" y="160"/>
                  </a:lnTo>
                  <a:lnTo>
                    <a:pt x="60" y="158"/>
                  </a:lnTo>
                  <a:lnTo>
                    <a:pt x="64" y="156"/>
                  </a:lnTo>
                  <a:lnTo>
                    <a:pt x="64" y="156"/>
                  </a:lnTo>
                  <a:lnTo>
                    <a:pt x="70" y="158"/>
                  </a:lnTo>
                  <a:lnTo>
                    <a:pt x="74" y="160"/>
                  </a:lnTo>
                  <a:lnTo>
                    <a:pt x="76" y="164"/>
                  </a:lnTo>
                  <a:lnTo>
                    <a:pt x="76" y="168"/>
                  </a:lnTo>
                  <a:lnTo>
                    <a:pt x="76" y="168"/>
                  </a:lnTo>
                  <a:lnTo>
                    <a:pt x="76" y="174"/>
                  </a:lnTo>
                  <a:lnTo>
                    <a:pt x="74" y="178"/>
                  </a:lnTo>
                  <a:lnTo>
                    <a:pt x="70" y="180"/>
                  </a:lnTo>
                  <a:lnTo>
                    <a:pt x="64" y="180"/>
                  </a:lnTo>
                  <a:lnTo>
                    <a:pt x="64" y="180"/>
                  </a:lnTo>
                  <a:close/>
                  <a:moveTo>
                    <a:pt x="96" y="240"/>
                  </a:moveTo>
                  <a:lnTo>
                    <a:pt x="96" y="240"/>
                  </a:lnTo>
                  <a:lnTo>
                    <a:pt x="92" y="238"/>
                  </a:lnTo>
                  <a:lnTo>
                    <a:pt x="88" y="236"/>
                  </a:lnTo>
                  <a:lnTo>
                    <a:pt x="86" y="232"/>
                  </a:lnTo>
                  <a:lnTo>
                    <a:pt x="84" y="228"/>
                  </a:lnTo>
                  <a:lnTo>
                    <a:pt x="84" y="228"/>
                  </a:lnTo>
                  <a:lnTo>
                    <a:pt x="86" y="222"/>
                  </a:lnTo>
                  <a:lnTo>
                    <a:pt x="88" y="218"/>
                  </a:lnTo>
                  <a:lnTo>
                    <a:pt x="92" y="216"/>
                  </a:lnTo>
                  <a:lnTo>
                    <a:pt x="96" y="216"/>
                  </a:lnTo>
                  <a:lnTo>
                    <a:pt x="96" y="216"/>
                  </a:lnTo>
                  <a:lnTo>
                    <a:pt x="102" y="216"/>
                  </a:lnTo>
                  <a:lnTo>
                    <a:pt x="106" y="218"/>
                  </a:lnTo>
                  <a:lnTo>
                    <a:pt x="108" y="222"/>
                  </a:lnTo>
                  <a:lnTo>
                    <a:pt x="108" y="228"/>
                  </a:lnTo>
                  <a:lnTo>
                    <a:pt x="108" y="228"/>
                  </a:lnTo>
                  <a:lnTo>
                    <a:pt x="108" y="232"/>
                  </a:lnTo>
                  <a:lnTo>
                    <a:pt x="106" y="236"/>
                  </a:lnTo>
                  <a:lnTo>
                    <a:pt x="102" y="238"/>
                  </a:lnTo>
                  <a:lnTo>
                    <a:pt x="96" y="240"/>
                  </a:lnTo>
                  <a:lnTo>
                    <a:pt x="96" y="240"/>
                  </a:lnTo>
                  <a:close/>
                  <a:moveTo>
                    <a:pt x="96" y="210"/>
                  </a:moveTo>
                  <a:lnTo>
                    <a:pt x="96" y="210"/>
                  </a:lnTo>
                  <a:lnTo>
                    <a:pt x="92" y="208"/>
                  </a:lnTo>
                  <a:lnTo>
                    <a:pt x="88" y="206"/>
                  </a:lnTo>
                  <a:lnTo>
                    <a:pt x="86" y="202"/>
                  </a:lnTo>
                  <a:lnTo>
                    <a:pt x="84" y="198"/>
                  </a:lnTo>
                  <a:lnTo>
                    <a:pt x="84" y="198"/>
                  </a:lnTo>
                  <a:lnTo>
                    <a:pt x="86" y="194"/>
                  </a:lnTo>
                  <a:lnTo>
                    <a:pt x="88" y="190"/>
                  </a:lnTo>
                  <a:lnTo>
                    <a:pt x="92" y="186"/>
                  </a:lnTo>
                  <a:lnTo>
                    <a:pt x="96" y="186"/>
                  </a:lnTo>
                  <a:lnTo>
                    <a:pt x="96" y="186"/>
                  </a:lnTo>
                  <a:lnTo>
                    <a:pt x="102" y="186"/>
                  </a:lnTo>
                  <a:lnTo>
                    <a:pt x="106" y="190"/>
                  </a:lnTo>
                  <a:lnTo>
                    <a:pt x="108" y="194"/>
                  </a:lnTo>
                  <a:lnTo>
                    <a:pt x="108" y="198"/>
                  </a:lnTo>
                  <a:lnTo>
                    <a:pt x="108" y="198"/>
                  </a:lnTo>
                  <a:lnTo>
                    <a:pt x="108" y="202"/>
                  </a:lnTo>
                  <a:lnTo>
                    <a:pt x="106" y="206"/>
                  </a:lnTo>
                  <a:lnTo>
                    <a:pt x="102" y="208"/>
                  </a:lnTo>
                  <a:lnTo>
                    <a:pt x="96" y="210"/>
                  </a:lnTo>
                  <a:lnTo>
                    <a:pt x="96" y="210"/>
                  </a:lnTo>
                  <a:close/>
                  <a:moveTo>
                    <a:pt x="96" y="180"/>
                  </a:moveTo>
                  <a:lnTo>
                    <a:pt x="96" y="180"/>
                  </a:lnTo>
                  <a:lnTo>
                    <a:pt x="92" y="180"/>
                  </a:lnTo>
                  <a:lnTo>
                    <a:pt x="88" y="178"/>
                  </a:lnTo>
                  <a:lnTo>
                    <a:pt x="86" y="174"/>
                  </a:lnTo>
                  <a:lnTo>
                    <a:pt x="84" y="168"/>
                  </a:lnTo>
                  <a:lnTo>
                    <a:pt x="84" y="168"/>
                  </a:lnTo>
                  <a:lnTo>
                    <a:pt x="86" y="164"/>
                  </a:lnTo>
                  <a:lnTo>
                    <a:pt x="88" y="160"/>
                  </a:lnTo>
                  <a:lnTo>
                    <a:pt x="92" y="158"/>
                  </a:lnTo>
                  <a:lnTo>
                    <a:pt x="96" y="156"/>
                  </a:lnTo>
                  <a:lnTo>
                    <a:pt x="96" y="156"/>
                  </a:lnTo>
                  <a:lnTo>
                    <a:pt x="102" y="158"/>
                  </a:lnTo>
                  <a:lnTo>
                    <a:pt x="106" y="160"/>
                  </a:lnTo>
                  <a:lnTo>
                    <a:pt x="108" y="164"/>
                  </a:lnTo>
                  <a:lnTo>
                    <a:pt x="108" y="168"/>
                  </a:lnTo>
                  <a:lnTo>
                    <a:pt x="108" y="168"/>
                  </a:lnTo>
                  <a:lnTo>
                    <a:pt x="108" y="174"/>
                  </a:lnTo>
                  <a:lnTo>
                    <a:pt x="106" y="178"/>
                  </a:lnTo>
                  <a:lnTo>
                    <a:pt x="102" y="180"/>
                  </a:lnTo>
                  <a:lnTo>
                    <a:pt x="96" y="180"/>
                  </a:lnTo>
                  <a:lnTo>
                    <a:pt x="96" y="180"/>
                  </a:lnTo>
                  <a:close/>
                  <a:moveTo>
                    <a:pt x="110" y="110"/>
                  </a:moveTo>
                  <a:lnTo>
                    <a:pt x="110" y="110"/>
                  </a:lnTo>
                  <a:lnTo>
                    <a:pt x="108" y="122"/>
                  </a:lnTo>
                  <a:lnTo>
                    <a:pt x="102" y="130"/>
                  </a:lnTo>
                  <a:lnTo>
                    <a:pt x="94" y="136"/>
                  </a:lnTo>
                  <a:lnTo>
                    <a:pt x="84" y="138"/>
                  </a:lnTo>
                  <a:lnTo>
                    <a:pt x="46" y="138"/>
                  </a:lnTo>
                  <a:lnTo>
                    <a:pt x="46" y="138"/>
                  </a:lnTo>
                  <a:lnTo>
                    <a:pt x="36" y="136"/>
                  </a:lnTo>
                  <a:lnTo>
                    <a:pt x="26" y="130"/>
                  </a:lnTo>
                  <a:lnTo>
                    <a:pt x="20" y="122"/>
                  </a:lnTo>
                  <a:lnTo>
                    <a:pt x="18" y="110"/>
                  </a:lnTo>
                  <a:lnTo>
                    <a:pt x="18" y="84"/>
                  </a:lnTo>
                  <a:lnTo>
                    <a:pt x="18" y="84"/>
                  </a:lnTo>
                  <a:lnTo>
                    <a:pt x="20" y="72"/>
                  </a:lnTo>
                  <a:lnTo>
                    <a:pt x="26" y="64"/>
                  </a:lnTo>
                  <a:lnTo>
                    <a:pt x="36" y="58"/>
                  </a:lnTo>
                  <a:lnTo>
                    <a:pt x="46" y="56"/>
                  </a:lnTo>
                  <a:lnTo>
                    <a:pt x="84" y="56"/>
                  </a:lnTo>
                  <a:lnTo>
                    <a:pt x="84" y="56"/>
                  </a:lnTo>
                  <a:lnTo>
                    <a:pt x="94" y="58"/>
                  </a:lnTo>
                  <a:lnTo>
                    <a:pt x="102" y="64"/>
                  </a:lnTo>
                  <a:lnTo>
                    <a:pt x="108" y="72"/>
                  </a:lnTo>
                  <a:lnTo>
                    <a:pt x="110" y="84"/>
                  </a:lnTo>
                  <a:lnTo>
                    <a:pt x="110" y="110"/>
                  </a:lnTo>
                  <a:close/>
                </a:path>
              </a:pathLst>
            </a:custGeom>
            <a:solidFill>
              <a:sysClr val="windowText" lastClr="000000">
                <a:lumMod val="75000"/>
                <a:lumOff val="25000"/>
              </a:sysClr>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84" name="Freeform 82"/>
            <p:cNvSpPr>
              <a:spLocks noEditPoints="1"/>
            </p:cNvSpPr>
            <p:nvPr/>
          </p:nvSpPr>
          <p:spPr bwMode="auto">
            <a:xfrm>
              <a:off x="4284393" y="1845111"/>
              <a:ext cx="81247" cy="171676"/>
            </a:xfrm>
            <a:custGeom>
              <a:avLst/>
              <a:gdLst/>
              <a:ahLst/>
              <a:cxnLst>
                <a:cxn ang="0">
                  <a:pos x="26" y="38"/>
                </a:cxn>
                <a:cxn ang="0">
                  <a:pos x="0" y="228"/>
                </a:cxn>
                <a:cxn ang="0">
                  <a:pos x="28" y="254"/>
                </a:cxn>
                <a:cxn ang="0">
                  <a:pos x="128" y="238"/>
                </a:cxn>
                <a:cxn ang="0">
                  <a:pos x="126" y="54"/>
                </a:cxn>
                <a:cxn ang="0">
                  <a:pos x="114" y="4"/>
                </a:cxn>
                <a:cxn ang="0">
                  <a:pos x="96" y="4"/>
                </a:cxn>
                <a:cxn ang="0">
                  <a:pos x="74" y="20"/>
                </a:cxn>
                <a:cxn ang="0">
                  <a:pos x="24" y="236"/>
                </a:cxn>
                <a:cxn ang="0">
                  <a:pos x="24" y="218"/>
                </a:cxn>
                <a:cxn ang="0">
                  <a:pos x="40" y="218"/>
                </a:cxn>
                <a:cxn ang="0">
                  <a:pos x="40" y="236"/>
                </a:cxn>
                <a:cxn ang="0">
                  <a:pos x="32" y="210"/>
                </a:cxn>
                <a:cxn ang="0">
                  <a:pos x="20" y="198"/>
                </a:cxn>
                <a:cxn ang="0">
                  <a:pos x="32" y="186"/>
                </a:cxn>
                <a:cxn ang="0">
                  <a:pos x="44" y="198"/>
                </a:cxn>
                <a:cxn ang="0">
                  <a:pos x="32" y="210"/>
                </a:cxn>
                <a:cxn ang="0">
                  <a:pos x="22" y="174"/>
                </a:cxn>
                <a:cxn ang="0">
                  <a:pos x="28" y="158"/>
                </a:cxn>
                <a:cxn ang="0">
                  <a:pos x="44" y="164"/>
                </a:cxn>
                <a:cxn ang="0">
                  <a:pos x="38" y="180"/>
                </a:cxn>
                <a:cxn ang="0">
                  <a:pos x="60" y="238"/>
                </a:cxn>
                <a:cxn ang="0">
                  <a:pos x="54" y="222"/>
                </a:cxn>
                <a:cxn ang="0">
                  <a:pos x="70" y="216"/>
                </a:cxn>
                <a:cxn ang="0">
                  <a:pos x="76" y="232"/>
                </a:cxn>
                <a:cxn ang="0">
                  <a:pos x="64" y="210"/>
                </a:cxn>
                <a:cxn ang="0">
                  <a:pos x="52" y="198"/>
                </a:cxn>
                <a:cxn ang="0">
                  <a:pos x="64" y="186"/>
                </a:cxn>
                <a:cxn ang="0">
                  <a:pos x="76" y="198"/>
                </a:cxn>
                <a:cxn ang="0">
                  <a:pos x="64" y="210"/>
                </a:cxn>
                <a:cxn ang="0">
                  <a:pos x="56" y="178"/>
                </a:cxn>
                <a:cxn ang="0">
                  <a:pos x="56" y="160"/>
                </a:cxn>
                <a:cxn ang="0">
                  <a:pos x="74" y="160"/>
                </a:cxn>
                <a:cxn ang="0">
                  <a:pos x="74" y="178"/>
                </a:cxn>
                <a:cxn ang="0">
                  <a:pos x="96" y="240"/>
                </a:cxn>
                <a:cxn ang="0">
                  <a:pos x="84" y="228"/>
                </a:cxn>
                <a:cxn ang="0">
                  <a:pos x="96" y="216"/>
                </a:cxn>
                <a:cxn ang="0">
                  <a:pos x="108" y="228"/>
                </a:cxn>
                <a:cxn ang="0">
                  <a:pos x="96" y="240"/>
                </a:cxn>
                <a:cxn ang="0">
                  <a:pos x="86" y="202"/>
                </a:cxn>
                <a:cxn ang="0">
                  <a:pos x="92" y="186"/>
                </a:cxn>
                <a:cxn ang="0">
                  <a:pos x="108" y="194"/>
                </a:cxn>
                <a:cxn ang="0">
                  <a:pos x="102" y="208"/>
                </a:cxn>
                <a:cxn ang="0">
                  <a:pos x="92" y="180"/>
                </a:cxn>
                <a:cxn ang="0">
                  <a:pos x="86" y="164"/>
                </a:cxn>
                <a:cxn ang="0">
                  <a:pos x="102" y="158"/>
                </a:cxn>
                <a:cxn ang="0">
                  <a:pos x="108" y="174"/>
                </a:cxn>
                <a:cxn ang="0">
                  <a:pos x="110" y="110"/>
                </a:cxn>
                <a:cxn ang="0">
                  <a:pos x="84" y="138"/>
                </a:cxn>
                <a:cxn ang="0">
                  <a:pos x="20" y="122"/>
                </a:cxn>
                <a:cxn ang="0">
                  <a:pos x="26" y="64"/>
                </a:cxn>
                <a:cxn ang="0">
                  <a:pos x="94" y="58"/>
                </a:cxn>
              </a:cxnLst>
              <a:rect l="0" t="0" r="r" b="b"/>
              <a:pathLst>
                <a:path w="130" h="254">
                  <a:moveTo>
                    <a:pt x="64" y="18"/>
                  </a:moveTo>
                  <a:lnTo>
                    <a:pt x="64" y="18"/>
                  </a:lnTo>
                  <a:lnTo>
                    <a:pt x="56" y="20"/>
                  </a:lnTo>
                  <a:lnTo>
                    <a:pt x="48" y="24"/>
                  </a:lnTo>
                  <a:lnTo>
                    <a:pt x="26" y="38"/>
                  </a:lnTo>
                  <a:lnTo>
                    <a:pt x="16" y="46"/>
                  </a:lnTo>
                  <a:lnTo>
                    <a:pt x="8" y="54"/>
                  </a:lnTo>
                  <a:lnTo>
                    <a:pt x="2" y="62"/>
                  </a:lnTo>
                  <a:lnTo>
                    <a:pt x="0" y="68"/>
                  </a:lnTo>
                  <a:lnTo>
                    <a:pt x="0" y="228"/>
                  </a:lnTo>
                  <a:lnTo>
                    <a:pt x="0" y="228"/>
                  </a:lnTo>
                  <a:lnTo>
                    <a:pt x="2" y="238"/>
                  </a:lnTo>
                  <a:lnTo>
                    <a:pt x="8" y="246"/>
                  </a:lnTo>
                  <a:lnTo>
                    <a:pt x="16" y="252"/>
                  </a:lnTo>
                  <a:lnTo>
                    <a:pt x="28" y="254"/>
                  </a:lnTo>
                  <a:lnTo>
                    <a:pt x="102" y="254"/>
                  </a:lnTo>
                  <a:lnTo>
                    <a:pt x="102" y="254"/>
                  </a:lnTo>
                  <a:lnTo>
                    <a:pt x="112" y="252"/>
                  </a:lnTo>
                  <a:lnTo>
                    <a:pt x="122" y="246"/>
                  </a:lnTo>
                  <a:lnTo>
                    <a:pt x="128" y="238"/>
                  </a:lnTo>
                  <a:lnTo>
                    <a:pt x="130" y="228"/>
                  </a:lnTo>
                  <a:lnTo>
                    <a:pt x="130" y="68"/>
                  </a:lnTo>
                  <a:lnTo>
                    <a:pt x="130" y="68"/>
                  </a:lnTo>
                  <a:lnTo>
                    <a:pt x="128" y="60"/>
                  </a:lnTo>
                  <a:lnTo>
                    <a:pt x="126" y="54"/>
                  </a:lnTo>
                  <a:lnTo>
                    <a:pt x="120" y="48"/>
                  </a:lnTo>
                  <a:lnTo>
                    <a:pt x="116" y="44"/>
                  </a:lnTo>
                  <a:lnTo>
                    <a:pt x="116" y="8"/>
                  </a:lnTo>
                  <a:lnTo>
                    <a:pt x="116" y="8"/>
                  </a:lnTo>
                  <a:lnTo>
                    <a:pt x="114" y="4"/>
                  </a:lnTo>
                  <a:lnTo>
                    <a:pt x="112" y="2"/>
                  </a:lnTo>
                  <a:lnTo>
                    <a:pt x="106" y="0"/>
                  </a:lnTo>
                  <a:lnTo>
                    <a:pt x="106" y="0"/>
                  </a:lnTo>
                  <a:lnTo>
                    <a:pt x="98" y="2"/>
                  </a:lnTo>
                  <a:lnTo>
                    <a:pt x="96" y="4"/>
                  </a:lnTo>
                  <a:lnTo>
                    <a:pt x="96" y="8"/>
                  </a:lnTo>
                  <a:lnTo>
                    <a:pt x="96" y="34"/>
                  </a:lnTo>
                  <a:lnTo>
                    <a:pt x="96" y="34"/>
                  </a:lnTo>
                  <a:lnTo>
                    <a:pt x="86" y="26"/>
                  </a:lnTo>
                  <a:lnTo>
                    <a:pt x="74" y="20"/>
                  </a:lnTo>
                  <a:lnTo>
                    <a:pt x="64" y="18"/>
                  </a:lnTo>
                  <a:close/>
                  <a:moveTo>
                    <a:pt x="32" y="240"/>
                  </a:moveTo>
                  <a:lnTo>
                    <a:pt x="32" y="240"/>
                  </a:lnTo>
                  <a:lnTo>
                    <a:pt x="28" y="238"/>
                  </a:lnTo>
                  <a:lnTo>
                    <a:pt x="24" y="236"/>
                  </a:lnTo>
                  <a:lnTo>
                    <a:pt x="22" y="232"/>
                  </a:lnTo>
                  <a:lnTo>
                    <a:pt x="20" y="228"/>
                  </a:lnTo>
                  <a:lnTo>
                    <a:pt x="20" y="228"/>
                  </a:lnTo>
                  <a:lnTo>
                    <a:pt x="22" y="222"/>
                  </a:lnTo>
                  <a:lnTo>
                    <a:pt x="24" y="218"/>
                  </a:lnTo>
                  <a:lnTo>
                    <a:pt x="28" y="216"/>
                  </a:lnTo>
                  <a:lnTo>
                    <a:pt x="32" y="216"/>
                  </a:lnTo>
                  <a:lnTo>
                    <a:pt x="32" y="216"/>
                  </a:lnTo>
                  <a:lnTo>
                    <a:pt x="38" y="216"/>
                  </a:lnTo>
                  <a:lnTo>
                    <a:pt x="40" y="218"/>
                  </a:lnTo>
                  <a:lnTo>
                    <a:pt x="44" y="222"/>
                  </a:lnTo>
                  <a:lnTo>
                    <a:pt x="44" y="228"/>
                  </a:lnTo>
                  <a:lnTo>
                    <a:pt x="44" y="228"/>
                  </a:lnTo>
                  <a:lnTo>
                    <a:pt x="44" y="232"/>
                  </a:lnTo>
                  <a:lnTo>
                    <a:pt x="40" y="236"/>
                  </a:lnTo>
                  <a:lnTo>
                    <a:pt x="38" y="238"/>
                  </a:lnTo>
                  <a:lnTo>
                    <a:pt x="32" y="240"/>
                  </a:lnTo>
                  <a:lnTo>
                    <a:pt x="32" y="240"/>
                  </a:lnTo>
                  <a:close/>
                  <a:moveTo>
                    <a:pt x="32" y="210"/>
                  </a:moveTo>
                  <a:lnTo>
                    <a:pt x="32" y="210"/>
                  </a:lnTo>
                  <a:lnTo>
                    <a:pt x="28" y="208"/>
                  </a:lnTo>
                  <a:lnTo>
                    <a:pt x="24" y="206"/>
                  </a:lnTo>
                  <a:lnTo>
                    <a:pt x="22" y="202"/>
                  </a:lnTo>
                  <a:lnTo>
                    <a:pt x="20" y="198"/>
                  </a:lnTo>
                  <a:lnTo>
                    <a:pt x="20" y="198"/>
                  </a:lnTo>
                  <a:lnTo>
                    <a:pt x="22" y="194"/>
                  </a:lnTo>
                  <a:lnTo>
                    <a:pt x="24" y="190"/>
                  </a:lnTo>
                  <a:lnTo>
                    <a:pt x="28" y="186"/>
                  </a:lnTo>
                  <a:lnTo>
                    <a:pt x="32" y="186"/>
                  </a:lnTo>
                  <a:lnTo>
                    <a:pt x="32" y="186"/>
                  </a:lnTo>
                  <a:lnTo>
                    <a:pt x="38" y="186"/>
                  </a:lnTo>
                  <a:lnTo>
                    <a:pt x="40" y="190"/>
                  </a:lnTo>
                  <a:lnTo>
                    <a:pt x="44" y="194"/>
                  </a:lnTo>
                  <a:lnTo>
                    <a:pt x="44" y="198"/>
                  </a:lnTo>
                  <a:lnTo>
                    <a:pt x="44" y="198"/>
                  </a:lnTo>
                  <a:lnTo>
                    <a:pt x="44" y="202"/>
                  </a:lnTo>
                  <a:lnTo>
                    <a:pt x="40" y="206"/>
                  </a:lnTo>
                  <a:lnTo>
                    <a:pt x="38" y="208"/>
                  </a:lnTo>
                  <a:lnTo>
                    <a:pt x="32" y="210"/>
                  </a:lnTo>
                  <a:lnTo>
                    <a:pt x="32" y="210"/>
                  </a:lnTo>
                  <a:close/>
                  <a:moveTo>
                    <a:pt x="32" y="180"/>
                  </a:moveTo>
                  <a:lnTo>
                    <a:pt x="32" y="180"/>
                  </a:lnTo>
                  <a:lnTo>
                    <a:pt x="28" y="180"/>
                  </a:lnTo>
                  <a:lnTo>
                    <a:pt x="24" y="178"/>
                  </a:lnTo>
                  <a:lnTo>
                    <a:pt x="22" y="174"/>
                  </a:lnTo>
                  <a:lnTo>
                    <a:pt x="20" y="168"/>
                  </a:lnTo>
                  <a:lnTo>
                    <a:pt x="20" y="168"/>
                  </a:lnTo>
                  <a:lnTo>
                    <a:pt x="22" y="164"/>
                  </a:lnTo>
                  <a:lnTo>
                    <a:pt x="24" y="160"/>
                  </a:lnTo>
                  <a:lnTo>
                    <a:pt x="28" y="158"/>
                  </a:lnTo>
                  <a:lnTo>
                    <a:pt x="32" y="156"/>
                  </a:lnTo>
                  <a:lnTo>
                    <a:pt x="32" y="156"/>
                  </a:lnTo>
                  <a:lnTo>
                    <a:pt x="38" y="158"/>
                  </a:lnTo>
                  <a:lnTo>
                    <a:pt x="40" y="160"/>
                  </a:lnTo>
                  <a:lnTo>
                    <a:pt x="44" y="164"/>
                  </a:lnTo>
                  <a:lnTo>
                    <a:pt x="44" y="168"/>
                  </a:lnTo>
                  <a:lnTo>
                    <a:pt x="44" y="168"/>
                  </a:lnTo>
                  <a:lnTo>
                    <a:pt x="44" y="174"/>
                  </a:lnTo>
                  <a:lnTo>
                    <a:pt x="40" y="178"/>
                  </a:lnTo>
                  <a:lnTo>
                    <a:pt x="38" y="180"/>
                  </a:lnTo>
                  <a:lnTo>
                    <a:pt x="32" y="180"/>
                  </a:lnTo>
                  <a:lnTo>
                    <a:pt x="32" y="180"/>
                  </a:lnTo>
                  <a:close/>
                  <a:moveTo>
                    <a:pt x="64" y="240"/>
                  </a:moveTo>
                  <a:lnTo>
                    <a:pt x="64" y="240"/>
                  </a:lnTo>
                  <a:lnTo>
                    <a:pt x="60" y="238"/>
                  </a:lnTo>
                  <a:lnTo>
                    <a:pt x="56" y="236"/>
                  </a:lnTo>
                  <a:lnTo>
                    <a:pt x="54" y="232"/>
                  </a:lnTo>
                  <a:lnTo>
                    <a:pt x="52" y="228"/>
                  </a:lnTo>
                  <a:lnTo>
                    <a:pt x="52" y="228"/>
                  </a:lnTo>
                  <a:lnTo>
                    <a:pt x="54" y="222"/>
                  </a:lnTo>
                  <a:lnTo>
                    <a:pt x="56" y="218"/>
                  </a:lnTo>
                  <a:lnTo>
                    <a:pt x="60" y="216"/>
                  </a:lnTo>
                  <a:lnTo>
                    <a:pt x="64" y="216"/>
                  </a:lnTo>
                  <a:lnTo>
                    <a:pt x="64" y="216"/>
                  </a:lnTo>
                  <a:lnTo>
                    <a:pt x="70" y="216"/>
                  </a:lnTo>
                  <a:lnTo>
                    <a:pt x="74" y="218"/>
                  </a:lnTo>
                  <a:lnTo>
                    <a:pt x="76" y="222"/>
                  </a:lnTo>
                  <a:lnTo>
                    <a:pt x="76" y="228"/>
                  </a:lnTo>
                  <a:lnTo>
                    <a:pt x="76" y="228"/>
                  </a:lnTo>
                  <a:lnTo>
                    <a:pt x="76" y="232"/>
                  </a:lnTo>
                  <a:lnTo>
                    <a:pt x="74" y="236"/>
                  </a:lnTo>
                  <a:lnTo>
                    <a:pt x="70" y="238"/>
                  </a:lnTo>
                  <a:lnTo>
                    <a:pt x="64" y="240"/>
                  </a:lnTo>
                  <a:lnTo>
                    <a:pt x="64" y="240"/>
                  </a:lnTo>
                  <a:close/>
                  <a:moveTo>
                    <a:pt x="64" y="210"/>
                  </a:moveTo>
                  <a:lnTo>
                    <a:pt x="64" y="210"/>
                  </a:lnTo>
                  <a:lnTo>
                    <a:pt x="60" y="208"/>
                  </a:lnTo>
                  <a:lnTo>
                    <a:pt x="56" y="206"/>
                  </a:lnTo>
                  <a:lnTo>
                    <a:pt x="54" y="202"/>
                  </a:lnTo>
                  <a:lnTo>
                    <a:pt x="52" y="198"/>
                  </a:lnTo>
                  <a:lnTo>
                    <a:pt x="52" y="198"/>
                  </a:lnTo>
                  <a:lnTo>
                    <a:pt x="54" y="194"/>
                  </a:lnTo>
                  <a:lnTo>
                    <a:pt x="56" y="190"/>
                  </a:lnTo>
                  <a:lnTo>
                    <a:pt x="60" y="186"/>
                  </a:lnTo>
                  <a:lnTo>
                    <a:pt x="64" y="186"/>
                  </a:lnTo>
                  <a:lnTo>
                    <a:pt x="64" y="186"/>
                  </a:lnTo>
                  <a:lnTo>
                    <a:pt x="70" y="186"/>
                  </a:lnTo>
                  <a:lnTo>
                    <a:pt x="74" y="190"/>
                  </a:lnTo>
                  <a:lnTo>
                    <a:pt x="76" y="194"/>
                  </a:lnTo>
                  <a:lnTo>
                    <a:pt x="76" y="198"/>
                  </a:lnTo>
                  <a:lnTo>
                    <a:pt x="76" y="198"/>
                  </a:lnTo>
                  <a:lnTo>
                    <a:pt x="76" y="202"/>
                  </a:lnTo>
                  <a:lnTo>
                    <a:pt x="74" y="206"/>
                  </a:lnTo>
                  <a:lnTo>
                    <a:pt x="70" y="208"/>
                  </a:lnTo>
                  <a:lnTo>
                    <a:pt x="64" y="210"/>
                  </a:lnTo>
                  <a:lnTo>
                    <a:pt x="64" y="210"/>
                  </a:lnTo>
                  <a:close/>
                  <a:moveTo>
                    <a:pt x="64" y="180"/>
                  </a:moveTo>
                  <a:lnTo>
                    <a:pt x="64" y="180"/>
                  </a:lnTo>
                  <a:lnTo>
                    <a:pt x="60" y="180"/>
                  </a:lnTo>
                  <a:lnTo>
                    <a:pt x="56" y="178"/>
                  </a:lnTo>
                  <a:lnTo>
                    <a:pt x="54" y="174"/>
                  </a:lnTo>
                  <a:lnTo>
                    <a:pt x="52" y="168"/>
                  </a:lnTo>
                  <a:lnTo>
                    <a:pt x="52" y="168"/>
                  </a:lnTo>
                  <a:lnTo>
                    <a:pt x="54" y="164"/>
                  </a:lnTo>
                  <a:lnTo>
                    <a:pt x="56" y="160"/>
                  </a:lnTo>
                  <a:lnTo>
                    <a:pt x="60" y="158"/>
                  </a:lnTo>
                  <a:lnTo>
                    <a:pt x="64" y="156"/>
                  </a:lnTo>
                  <a:lnTo>
                    <a:pt x="64" y="156"/>
                  </a:lnTo>
                  <a:lnTo>
                    <a:pt x="70" y="158"/>
                  </a:lnTo>
                  <a:lnTo>
                    <a:pt x="74" y="160"/>
                  </a:lnTo>
                  <a:lnTo>
                    <a:pt x="76" y="164"/>
                  </a:lnTo>
                  <a:lnTo>
                    <a:pt x="76" y="168"/>
                  </a:lnTo>
                  <a:lnTo>
                    <a:pt x="76" y="168"/>
                  </a:lnTo>
                  <a:lnTo>
                    <a:pt x="76" y="174"/>
                  </a:lnTo>
                  <a:lnTo>
                    <a:pt x="74" y="178"/>
                  </a:lnTo>
                  <a:lnTo>
                    <a:pt x="70" y="180"/>
                  </a:lnTo>
                  <a:lnTo>
                    <a:pt x="64" y="180"/>
                  </a:lnTo>
                  <a:lnTo>
                    <a:pt x="64" y="180"/>
                  </a:lnTo>
                  <a:close/>
                  <a:moveTo>
                    <a:pt x="96" y="240"/>
                  </a:moveTo>
                  <a:lnTo>
                    <a:pt x="96" y="240"/>
                  </a:lnTo>
                  <a:lnTo>
                    <a:pt x="92" y="238"/>
                  </a:lnTo>
                  <a:lnTo>
                    <a:pt x="88" y="236"/>
                  </a:lnTo>
                  <a:lnTo>
                    <a:pt x="86" y="232"/>
                  </a:lnTo>
                  <a:lnTo>
                    <a:pt x="84" y="228"/>
                  </a:lnTo>
                  <a:lnTo>
                    <a:pt x="84" y="228"/>
                  </a:lnTo>
                  <a:lnTo>
                    <a:pt x="86" y="222"/>
                  </a:lnTo>
                  <a:lnTo>
                    <a:pt x="88" y="218"/>
                  </a:lnTo>
                  <a:lnTo>
                    <a:pt x="92" y="216"/>
                  </a:lnTo>
                  <a:lnTo>
                    <a:pt x="96" y="216"/>
                  </a:lnTo>
                  <a:lnTo>
                    <a:pt x="96" y="216"/>
                  </a:lnTo>
                  <a:lnTo>
                    <a:pt x="102" y="216"/>
                  </a:lnTo>
                  <a:lnTo>
                    <a:pt x="106" y="218"/>
                  </a:lnTo>
                  <a:lnTo>
                    <a:pt x="108" y="222"/>
                  </a:lnTo>
                  <a:lnTo>
                    <a:pt x="108" y="228"/>
                  </a:lnTo>
                  <a:lnTo>
                    <a:pt x="108" y="228"/>
                  </a:lnTo>
                  <a:lnTo>
                    <a:pt x="108" y="232"/>
                  </a:lnTo>
                  <a:lnTo>
                    <a:pt x="106" y="236"/>
                  </a:lnTo>
                  <a:lnTo>
                    <a:pt x="102" y="238"/>
                  </a:lnTo>
                  <a:lnTo>
                    <a:pt x="96" y="240"/>
                  </a:lnTo>
                  <a:lnTo>
                    <a:pt x="96" y="240"/>
                  </a:lnTo>
                  <a:close/>
                  <a:moveTo>
                    <a:pt x="96" y="210"/>
                  </a:moveTo>
                  <a:lnTo>
                    <a:pt x="96" y="210"/>
                  </a:lnTo>
                  <a:lnTo>
                    <a:pt x="92" y="208"/>
                  </a:lnTo>
                  <a:lnTo>
                    <a:pt x="88" y="206"/>
                  </a:lnTo>
                  <a:lnTo>
                    <a:pt x="86" y="202"/>
                  </a:lnTo>
                  <a:lnTo>
                    <a:pt x="84" y="198"/>
                  </a:lnTo>
                  <a:lnTo>
                    <a:pt x="84" y="198"/>
                  </a:lnTo>
                  <a:lnTo>
                    <a:pt x="86" y="194"/>
                  </a:lnTo>
                  <a:lnTo>
                    <a:pt x="88" y="190"/>
                  </a:lnTo>
                  <a:lnTo>
                    <a:pt x="92" y="186"/>
                  </a:lnTo>
                  <a:lnTo>
                    <a:pt x="96" y="186"/>
                  </a:lnTo>
                  <a:lnTo>
                    <a:pt x="96" y="186"/>
                  </a:lnTo>
                  <a:lnTo>
                    <a:pt x="102" y="186"/>
                  </a:lnTo>
                  <a:lnTo>
                    <a:pt x="106" y="190"/>
                  </a:lnTo>
                  <a:lnTo>
                    <a:pt x="108" y="194"/>
                  </a:lnTo>
                  <a:lnTo>
                    <a:pt x="108" y="198"/>
                  </a:lnTo>
                  <a:lnTo>
                    <a:pt x="108" y="198"/>
                  </a:lnTo>
                  <a:lnTo>
                    <a:pt x="108" y="202"/>
                  </a:lnTo>
                  <a:lnTo>
                    <a:pt x="106" y="206"/>
                  </a:lnTo>
                  <a:lnTo>
                    <a:pt x="102" y="208"/>
                  </a:lnTo>
                  <a:lnTo>
                    <a:pt x="96" y="210"/>
                  </a:lnTo>
                  <a:lnTo>
                    <a:pt x="96" y="210"/>
                  </a:lnTo>
                  <a:close/>
                  <a:moveTo>
                    <a:pt x="96" y="180"/>
                  </a:moveTo>
                  <a:lnTo>
                    <a:pt x="96" y="180"/>
                  </a:lnTo>
                  <a:lnTo>
                    <a:pt x="92" y="180"/>
                  </a:lnTo>
                  <a:lnTo>
                    <a:pt x="88" y="178"/>
                  </a:lnTo>
                  <a:lnTo>
                    <a:pt x="86" y="174"/>
                  </a:lnTo>
                  <a:lnTo>
                    <a:pt x="84" y="168"/>
                  </a:lnTo>
                  <a:lnTo>
                    <a:pt x="84" y="168"/>
                  </a:lnTo>
                  <a:lnTo>
                    <a:pt x="86" y="164"/>
                  </a:lnTo>
                  <a:lnTo>
                    <a:pt x="88" y="160"/>
                  </a:lnTo>
                  <a:lnTo>
                    <a:pt x="92" y="158"/>
                  </a:lnTo>
                  <a:lnTo>
                    <a:pt x="96" y="156"/>
                  </a:lnTo>
                  <a:lnTo>
                    <a:pt x="96" y="156"/>
                  </a:lnTo>
                  <a:lnTo>
                    <a:pt x="102" y="158"/>
                  </a:lnTo>
                  <a:lnTo>
                    <a:pt x="106" y="160"/>
                  </a:lnTo>
                  <a:lnTo>
                    <a:pt x="108" y="164"/>
                  </a:lnTo>
                  <a:lnTo>
                    <a:pt x="108" y="168"/>
                  </a:lnTo>
                  <a:lnTo>
                    <a:pt x="108" y="168"/>
                  </a:lnTo>
                  <a:lnTo>
                    <a:pt x="108" y="174"/>
                  </a:lnTo>
                  <a:lnTo>
                    <a:pt x="106" y="178"/>
                  </a:lnTo>
                  <a:lnTo>
                    <a:pt x="102" y="180"/>
                  </a:lnTo>
                  <a:lnTo>
                    <a:pt x="96" y="180"/>
                  </a:lnTo>
                  <a:lnTo>
                    <a:pt x="96" y="180"/>
                  </a:lnTo>
                  <a:close/>
                  <a:moveTo>
                    <a:pt x="110" y="110"/>
                  </a:moveTo>
                  <a:lnTo>
                    <a:pt x="110" y="110"/>
                  </a:lnTo>
                  <a:lnTo>
                    <a:pt x="108" y="122"/>
                  </a:lnTo>
                  <a:lnTo>
                    <a:pt x="102" y="130"/>
                  </a:lnTo>
                  <a:lnTo>
                    <a:pt x="94" y="136"/>
                  </a:lnTo>
                  <a:lnTo>
                    <a:pt x="84" y="138"/>
                  </a:lnTo>
                  <a:lnTo>
                    <a:pt x="46" y="138"/>
                  </a:lnTo>
                  <a:lnTo>
                    <a:pt x="46" y="138"/>
                  </a:lnTo>
                  <a:lnTo>
                    <a:pt x="36" y="136"/>
                  </a:lnTo>
                  <a:lnTo>
                    <a:pt x="26" y="130"/>
                  </a:lnTo>
                  <a:lnTo>
                    <a:pt x="20" y="122"/>
                  </a:lnTo>
                  <a:lnTo>
                    <a:pt x="18" y="110"/>
                  </a:lnTo>
                  <a:lnTo>
                    <a:pt x="18" y="84"/>
                  </a:lnTo>
                  <a:lnTo>
                    <a:pt x="18" y="84"/>
                  </a:lnTo>
                  <a:lnTo>
                    <a:pt x="20" y="72"/>
                  </a:lnTo>
                  <a:lnTo>
                    <a:pt x="26" y="64"/>
                  </a:lnTo>
                  <a:lnTo>
                    <a:pt x="36" y="58"/>
                  </a:lnTo>
                  <a:lnTo>
                    <a:pt x="46" y="56"/>
                  </a:lnTo>
                  <a:lnTo>
                    <a:pt x="84" y="56"/>
                  </a:lnTo>
                  <a:lnTo>
                    <a:pt x="84" y="56"/>
                  </a:lnTo>
                  <a:lnTo>
                    <a:pt x="94" y="58"/>
                  </a:lnTo>
                  <a:lnTo>
                    <a:pt x="102" y="64"/>
                  </a:lnTo>
                  <a:lnTo>
                    <a:pt x="108" y="72"/>
                  </a:lnTo>
                  <a:lnTo>
                    <a:pt x="110" y="84"/>
                  </a:lnTo>
                  <a:lnTo>
                    <a:pt x="110" y="110"/>
                  </a:lnTo>
                  <a:close/>
                </a:path>
              </a:pathLst>
            </a:custGeom>
            <a:solidFill>
              <a:sysClr val="windowText" lastClr="000000">
                <a:lumMod val="75000"/>
                <a:lumOff val="25000"/>
              </a:sysClr>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85" name="Freeform 82"/>
            <p:cNvSpPr>
              <a:spLocks noEditPoints="1"/>
            </p:cNvSpPr>
            <p:nvPr/>
          </p:nvSpPr>
          <p:spPr bwMode="auto">
            <a:xfrm>
              <a:off x="3779877" y="1052762"/>
              <a:ext cx="81247" cy="171676"/>
            </a:xfrm>
            <a:custGeom>
              <a:avLst/>
              <a:gdLst/>
              <a:ahLst/>
              <a:cxnLst>
                <a:cxn ang="0">
                  <a:pos x="26" y="38"/>
                </a:cxn>
                <a:cxn ang="0">
                  <a:pos x="0" y="228"/>
                </a:cxn>
                <a:cxn ang="0">
                  <a:pos x="28" y="254"/>
                </a:cxn>
                <a:cxn ang="0">
                  <a:pos x="128" y="238"/>
                </a:cxn>
                <a:cxn ang="0">
                  <a:pos x="126" y="54"/>
                </a:cxn>
                <a:cxn ang="0">
                  <a:pos x="114" y="4"/>
                </a:cxn>
                <a:cxn ang="0">
                  <a:pos x="96" y="4"/>
                </a:cxn>
                <a:cxn ang="0">
                  <a:pos x="74" y="20"/>
                </a:cxn>
                <a:cxn ang="0">
                  <a:pos x="24" y="236"/>
                </a:cxn>
                <a:cxn ang="0">
                  <a:pos x="24" y="218"/>
                </a:cxn>
                <a:cxn ang="0">
                  <a:pos x="40" y="218"/>
                </a:cxn>
                <a:cxn ang="0">
                  <a:pos x="40" y="236"/>
                </a:cxn>
                <a:cxn ang="0">
                  <a:pos x="32" y="210"/>
                </a:cxn>
                <a:cxn ang="0">
                  <a:pos x="20" y="198"/>
                </a:cxn>
                <a:cxn ang="0">
                  <a:pos x="32" y="186"/>
                </a:cxn>
                <a:cxn ang="0">
                  <a:pos x="44" y="198"/>
                </a:cxn>
                <a:cxn ang="0">
                  <a:pos x="32" y="210"/>
                </a:cxn>
                <a:cxn ang="0">
                  <a:pos x="22" y="174"/>
                </a:cxn>
                <a:cxn ang="0">
                  <a:pos x="28" y="158"/>
                </a:cxn>
                <a:cxn ang="0">
                  <a:pos x="44" y="164"/>
                </a:cxn>
                <a:cxn ang="0">
                  <a:pos x="38" y="180"/>
                </a:cxn>
                <a:cxn ang="0">
                  <a:pos x="60" y="238"/>
                </a:cxn>
                <a:cxn ang="0">
                  <a:pos x="54" y="222"/>
                </a:cxn>
                <a:cxn ang="0">
                  <a:pos x="70" y="216"/>
                </a:cxn>
                <a:cxn ang="0">
                  <a:pos x="76" y="232"/>
                </a:cxn>
                <a:cxn ang="0">
                  <a:pos x="64" y="210"/>
                </a:cxn>
                <a:cxn ang="0">
                  <a:pos x="52" y="198"/>
                </a:cxn>
                <a:cxn ang="0">
                  <a:pos x="64" y="186"/>
                </a:cxn>
                <a:cxn ang="0">
                  <a:pos x="76" y="198"/>
                </a:cxn>
                <a:cxn ang="0">
                  <a:pos x="64" y="210"/>
                </a:cxn>
                <a:cxn ang="0">
                  <a:pos x="56" y="178"/>
                </a:cxn>
                <a:cxn ang="0">
                  <a:pos x="56" y="160"/>
                </a:cxn>
                <a:cxn ang="0">
                  <a:pos x="74" y="160"/>
                </a:cxn>
                <a:cxn ang="0">
                  <a:pos x="74" y="178"/>
                </a:cxn>
                <a:cxn ang="0">
                  <a:pos x="96" y="240"/>
                </a:cxn>
                <a:cxn ang="0">
                  <a:pos x="84" y="228"/>
                </a:cxn>
                <a:cxn ang="0">
                  <a:pos x="96" y="216"/>
                </a:cxn>
                <a:cxn ang="0">
                  <a:pos x="108" y="228"/>
                </a:cxn>
                <a:cxn ang="0">
                  <a:pos x="96" y="240"/>
                </a:cxn>
                <a:cxn ang="0">
                  <a:pos x="86" y="202"/>
                </a:cxn>
                <a:cxn ang="0">
                  <a:pos x="92" y="186"/>
                </a:cxn>
                <a:cxn ang="0">
                  <a:pos x="108" y="194"/>
                </a:cxn>
                <a:cxn ang="0">
                  <a:pos x="102" y="208"/>
                </a:cxn>
                <a:cxn ang="0">
                  <a:pos x="92" y="180"/>
                </a:cxn>
                <a:cxn ang="0">
                  <a:pos x="86" y="164"/>
                </a:cxn>
                <a:cxn ang="0">
                  <a:pos x="102" y="158"/>
                </a:cxn>
                <a:cxn ang="0">
                  <a:pos x="108" y="174"/>
                </a:cxn>
                <a:cxn ang="0">
                  <a:pos x="110" y="110"/>
                </a:cxn>
                <a:cxn ang="0">
                  <a:pos x="84" y="138"/>
                </a:cxn>
                <a:cxn ang="0">
                  <a:pos x="20" y="122"/>
                </a:cxn>
                <a:cxn ang="0">
                  <a:pos x="26" y="64"/>
                </a:cxn>
                <a:cxn ang="0">
                  <a:pos x="94" y="58"/>
                </a:cxn>
              </a:cxnLst>
              <a:rect l="0" t="0" r="r" b="b"/>
              <a:pathLst>
                <a:path w="130" h="254">
                  <a:moveTo>
                    <a:pt x="64" y="18"/>
                  </a:moveTo>
                  <a:lnTo>
                    <a:pt x="64" y="18"/>
                  </a:lnTo>
                  <a:lnTo>
                    <a:pt x="56" y="20"/>
                  </a:lnTo>
                  <a:lnTo>
                    <a:pt x="48" y="24"/>
                  </a:lnTo>
                  <a:lnTo>
                    <a:pt x="26" y="38"/>
                  </a:lnTo>
                  <a:lnTo>
                    <a:pt x="16" y="46"/>
                  </a:lnTo>
                  <a:lnTo>
                    <a:pt x="8" y="54"/>
                  </a:lnTo>
                  <a:lnTo>
                    <a:pt x="2" y="62"/>
                  </a:lnTo>
                  <a:lnTo>
                    <a:pt x="0" y="68"/>
                  </a:lnTo>
                  <a:lnTo>
                    <a:pt x="0" y="228"/>
                  </a:lnTo>
                  <a:lnTo>
                    <a:pt x="0" y="228"/>
                  </a:lnTo>
                  <a:lnTo>
                    <a:pt x="2" y="238"/>
                  </a:lnTo>
                  <a:lnTo>
                    <a:pt x="8" y="246"/>
                  </a:lnTo>
                  <a:lnTo>
                    <a:pt x="16" y="252"/>
                  </a:lnTo>
                  <a:lnTo>
                    <a:pt x="28" y="254"/>
                  </a:lnTo>
                  <a:lnTo>
                    <a:pt x="102" y="254"/>
                  </a:lnTo>
                  <a:lnTo>
                    <a:pt x="102" y="254"/>
                  </a:lnTo>
                  <a:lnTo>
                    <a:pt x="112" y="252"/>
                  </a:lnTo>
                  <a:lnTo>
                    <a:pt x="122" y="246"/>
                  </a:lnTo>
                  <a:lnTo>
                    <a:pt x="128" y="238"/>
                  </a:lnTo>
                  <a:lnTo>
                    <a:pt x="130" y="228"/>
                  </a:lnTo>
                  <a:lnTo>
                    <a:pt x="130" y="68"/>
                  </a:lnTo>
                  <a:lnTo>
                    <a:pt x="130" y="68"/>
                  </a:lnTo>
                  <a:lnTo>
                    <a:pt x="128" y="60"/>
                  </a:lnTo>
                  <a:lnTo>
                    <a:pt x="126" y="54"/>
                  </a:lnTo>
                  <a:lnTo>
                    <a:pt x="120" y="48"/>
                  </a:lnTo>
                  <a:lnTo>
                    <a:pt x="116" y="44"/>
                  </a:lnTo>
                  <a:lnTo>
                    <a:pt x="116" y="8"/>
                  </a:lnTo>
                  <a:lnTo>
                    <a:pt x="116" y="8"/>
                  </a:lnTo>
                  <a:lnTo>
                    <a:pt x="114" y="4"/>
                  </a:lnTo>
                  <a:lnTo>
                    <a:pt x="112" y="2"/>
                  </a:lnTo>
                  <a:lnTo>
                    <a:pt x="106" y="0"/>
                  </a:lnTo>
                  <a:lnTo>
                    <a:pt x="106" y="0"/>
                  </a:lnTo>
                  <a:lnTo>
                    <a:pt x="98" y="2"/>
                  </a:lnTo>
                  <a:lnTo>
                    <a:pt x="96" y="4"/>
                  </a:lnTo>
                  <a:lnTo>
                    <a:pt x="96" y="8"/>
                  </a:lnTo>
                  <a:lnTo>
                    <a:pt x="96" y="34"/>
                  </a:lnTo>
                  <a:lnTo>
                    <a:pt x="96" y="34"/>
                  </a:lnTo>
                  <a:lnTo>
                    <a:pt x="86" y="26"/>
                  </a:lnTo>
                  <a:lnTo>
                    <a:pt x="74" y="20"/>
                  </a:lnTo>
                  <a:lnTo>
                    <a:pt x="64" y="18"/>
                  </a:lnTo>
                  <a:close/>
                  <a:moveTo>
                    <a:pt x="32" y="240"/>
                  </a:moveTo>
                  <a:lnTo>
                    <a:pt x="32" y="240"/>
                  </a:lnTo>
                  <a:lnTo>
                    <a:pt x="28" y="238"/>
                  </a:lnTo>
                  <a:lnTo>
                    <a:pt x="24" y="236"/>
                  </a:lnTo>
                  <a:lnTo>
                    <a:pt x="22" y="232"/>
                  </a:lnTo>
                  <a:lnTo>
                    <a:pt x="20" y="228"/>
                  </a:lnTo>
                  <a:lnTo>
                    <a:pt x="20" y="228"/>
                  </a:lnTo>
                  <a:lnTo>
                    <a:pt x="22" y="222"/>
                  </a:lnTo>
                  <a:lnTo>
                    <a:pt x="24" y="218"/>
                  </a:lnTo>
                  <a:lnTo>
                    <a:pt x="28" y="216"/>
                  </a:lnTo>
                  <a:lnTo>
                    <a:pt x="32" y="216"/>
                  </a:lnTo>
                  <a:lnTo>
                    <a:pt x="32" y="216"/>
                  </a:lnTo>
                  <a:lnTo>
                    <a:pt x="38" y="216"/>
                  </a:lnTo>
                  <a:lnTo>
                    <a:pt x="40" y="218"/>
                  </a:lnTo>
                  <a:lnTo>
                    <a:pt x="44" y="222"/>
                  </a:lnTo>
                  <a:lnTo>
                    <a:pt x="44" y="228"/>
                  </a:lnTo>
                  <a:lnTo>
                    <a:pt x="44" y="228"/>
                  </a:lnTo>
                  <a:lnTo>
                    <a:pt x="44" y="232"/>
                  </a:lnTo>
                  <a:lnTo>
                    <a:pt x="40" y="236"/>
                  </a:lnTo>
                  <a:lnTo>
                    <a:pt x="38" y="238"/>
                  </a:lnTo>
                  <a:lnTo>
                    <a:pt x="32" y="240"/>
                  </a:lnTo>
                  <a:lnTo>
                    <a:pt x="32" y="240"/>
                  </a:lnTo>
                  <a:close/>
                  <a:moveTo>
                    <a:pt x="32" y="210"/>
                  </a:moveTo>
                  <a:lnTo>
                    <a:pt x="32" y="210"/>
                  </a:lnTo>
                  <a:lnTo>
                    <a:pt x="28" y="208"/>
                  </a:lnTo>
                  <a:lnTo>
                    <a:pt x="24" y="206"/>
                  </a:lnTo>
                  <a:lnTo>
                    <a:pt x="22" y="202"/>
                  </a:lnTo>
                  <a:lnTo>
                    <a:pt x="20" y="198"/>
                  </a:lnTo>
                  <a:lnTo>
                    <a:pt x="20" y="198"/>
                  </a:lnTo>
                  <a:lnTo>
                    <a:pt x="22" y="194"/>
                  </a:lnTo>
                  <a:lnTo>
                    <a:pt x="24" y="190"/>
                  </a:lnTo>
                  <a:lnTo>
                    <a:pt x="28" y="186"/>
                  </a:lnTo>
                  <a:lnTo>
                    <a:pt x="32" y="186"/>
                  </a:lnTo>
                  <a:lnTo>
                    <a:pt x="32" y="186"/>
                  </a:lnTo>
                  <a:lnTo>
                    <a:pt x="38" y="186"/>
                  </a:lnTo>
                  <a:lnTo>
                    <a:pt x="40" y="190"/>
                  </a:lnTo>
                  <a:lnTo>
                    <a:pt x="44" y="194"/>
                  </a:lnTo>
                  <a:lnTo>
                    <a:pt x="44" y="198"/>
                  </a:lnTo>
                  <a:lnTo>
                    <a:pt x="44" y="198"/>
                  </a:lnTo>
                  <a:lnTo>
                    <a:pt x="44" y="202"/>
                  </a:lnTo>
                  <a:lnTo>
                    <a:pt x="40" y="206"/>
                  </a:lnTo>
                  <a:lnTo>
                    <a:pt x="38" y="208"/>
                  </a:lnTo>
                  <a:lnTo>
                    <a:pt x="32" y="210"/>
                  </a:lnTo>
                  <a:lnTo>
                    <a:pt x="32" y="210"/>
                  </a:lnTo>
                  <a:close/>
                  <a:moveTo>
                    <a:pt x="32" y="180"/>
                  </a:moveTo>
                  <a:lnTo>
                    <a:pt x="32" y="180"/>
                  </a:lnTo>
                  <a:lnTo>
                    <a:pt x="28" y="180"/>
                  </a:lnTo>
                  <a:lnTo>
                    <a:pt x="24" y="178"/>
                  </a:lnTo>
                  <a:lnTo>
                    <a:pt x="22" y="174"/>
                  </a:lnTo>
                  <a:lnTo>
                    <a:pt x="20" y="168"/>
                  </a:lnTo>
                  <a:lnTo>
                    <a:pt x="20" y="168"/>
                  </a:lnTo>
                  <a:lnTo>
                    <a:pt x="22" y="164"/>
                  </a:lnTo>
                  <a:lnTo>
                    <a:pt x="24" y="160"/>
                  </a:lnTo>
                  <a:lnTo>
                    <a:pt x="28" y="158"/>
                  </a:lnTo>
                  <a:lnTo>
                    <a:pt x="32" y="156"/>
                  </a:lnTo>
                  <a:lnTo>
                    <a:pt x="32" y="156"/>
                  </a:lnTo>
                  <a:lnTo>
                    <a:pt x="38" y="158"/>
                  </a:lnTo>
                  <a:lnTo>
                    <a:pt x="40" y="160"/>
                  </a:lnTo>
                  <a:lnTo>
                    <a:pt x="44" y="164"/>
                  </a:lnTo>
                  <a:lnTo>
                    <a:pt x="44" y="168"/>
                  </a:lnTo>
                  <a:lnTo>
                    <a:pt x="44" y="168"/>
                  </a:lnTo>
                  <a:lnTo>
                    <a:pt x="44" y="174"/>
                  </a:lnTo>
                  <a:lnTo>
                    <a:pt x="40" y="178"/>
                  </a:lnTo>
                  <a:lnTo>
                    <a:pt x="38" y="180"/>
                  </a:lnTo>
                  <a:lnTo>
                    <a:pt x="32" y="180"/>
                  </a:lnTo>
                  <a:lnTo>
                    <a:pt x="32" y="180"/>
                  </a:lnTo>
                  <a:close/>
                  <a:moveTo>
                    <a:pt x="64" y="240"/>
                  </a:moveTo>
                  <a:lnTo>
                    <a:pt x="64" y="240"/>
                  </a:lnTo>
                  <a:lnTo>
                    <a:pt x="60" y="238"/>
                  </a:lnTo>
                  <a:lnTo>
                    <a:pt x="56" y="236"/>
                  </a:lnTo>
                  <a:lnTo>
                    <a:pt x="54" y="232"/>
                  </a:lnTo>
                  <a:lnTo>
                    <a:pt x="52" y="228"/>
                  </a:lnTo>
                  <a:lnTo>
                    <a:pt x="52" y="228"/>
                  </a:lnTo>
                  <a:lnTo>
                    <a:pt x="54" y="222"/>
                  </a:lnTo>
                  <a:lnTo>
                    <a:pt x="56" y="218"/>
                  </a:lnTo>
                  <a:lnTo>
                    <a:pt x="60" y="216"/>
                  </a:lnTo>
                  <a:lnTo>
                    <a:pt x="64" y="216"/>
                  </a:lnTo>
                  <a:lnTo>
                    <a:pt x="64" y="216"/>
                  </a:lnTo>
                  <a:lnTo>
                    <a:pt x="70" y="216"/>
                  </a:lnTo>
                  <a:lnTo>
                    <a:pt x="74" y="218"/>
                  </a:lnTo>
                  <a:lnTo>
                    <a:pt x="76" y="222"/>
                  </a:lnTo>
                  <a:lnTo>
                    <a:pt x="76" y="228"/>
                  </a:lnTo>
                  <a:lnTo>
                    <a:pt x="76" y="228"/>
                  </a:lnTo>
                  <a:lnTo>
                    <a:pt x="76" y="232"/>
                  </a:lnTo>
                  <a:lnTo>
                    <a:pt x="74" y="236"/>
                  </a:lnTo>
                  <a:lnTo>
                    <a:pt x="70" y="238"/>
                  </a:lnTo>
                  <a:lnTo>
                    <a:pt x="64" y="240"/>
                  </a:lnTo>
                  <a:lnTo>
                    <a:pt x="64" y="240"/>
                  </a:lnTo>
                  <a:close/>
                  <a:moveTo>
                    <a:pt x="64" y="210"/>
                  </a:moveTo>
                  <a:lnTo>
                    <a:pt x="64" y="210"/>
                  </a:lnTo>
                  <a:lnTo>
                    <a:pt x="60" y="208"/>
                  </a:lnTo>
                  <a:lnTo>
                    <a:pt x="56" y="206"/>
                  </a:lnTo>
                  <a:lnTo>
                    <a:pt x="54" y="202"/>
                  </a:lnTo>
                  <a:lnTo>
                    <a:pt x="52" y="198"/>
                  </a:lnTo>
                  <a:lnTo>
                    <a:pt x="52" y="198"/>
                  </a:lnTo>
                  <a:lnTo>
                    <a:pt x="54" y="194"/>
                  </a:lnTo>
                  <a:lnTo>
                    <a:pt x="56" y="190"/>
                  </a:lnTo>
                  <a:lnTo>
                    <a:pt x="60" y="186"/>
                  </a:lnTo>
                  <a:lnTo>
                    <a:pt x="64" y="186"/>
                  </a:lnTo>
                  <a:lnTo>
                    <a:pt x="64" y="186"/>
                  </a:lnTo>
                  <a:lnTo>
                    <a:pt x="70" y="186"/>
                  </a:lnTo>
                  <a:lnTo>
                    <a:pt x="74" y="190"/>
                  </a:lnTo>
                  <a:lnTo>
                    <a:pt x="76" y="194"/>
                  </a:lnTo>
                  <a:lnTo>
                    <a:pt x="76" y="198"/>
                  </a:lnTo>
                  <a:lnTo>
                    <a:pt x="76" y="198"/>
                  </a:lnTo>
                  <a:lnTo>
                    <a:pt x="76" y="202"/>
                  </a:lnTo>
                  <a:lnTo>
                    <a:pt x="74" y="206"/>
                  </a:lnTo>
                  <a:lnTo>
                    <a:pt x="70" y="208"/>
                  </a:lnTo>
                  <a:lnTo>
                    <a:pt x="64" y="210"/>
                  </a:lnTo>
                  <a:lnTo>
                    <a:pt x="64" y="210"/>
                  </a:lnTo>
                  <a:close/>
                  <a:moveTo>
                    <a:pt x="64" y="180"/>
                  </a:moveTo>
                  <a:lnTo>
                    <a:pt x="64" y="180"/>
                  </a:lnTo>
                  <a:lnTo>
                    <a:pt x="60" y="180"/>
                  </a:lnTo>
                  <a:lnTo>
                    <a:pt x="56" y="178"/>
                  </a:lnTo>
                  <a:lnTo>
                    <a:pt x="54" y="174"/>
                  </a:lnTo>
                  <a:lnTo>
                    <a:pt x="52" y="168"/>
                  </a:lnTo>
                  <a:lnTo>
                    <a:pt x="52" y="168"/>
                  </a:lnTo>
                  <a:lnTo>
                    <a:pt x="54" y="164"/>
                  </a:lnTo>
                  <a:lnTo>
                    <a:pt x="56" y="160"/>
                  </a:lnTo>
                  <a:lnTo>
                    <a:pt x="60" y="158"/>
                  </a:lnTo>
                  <a:lnTo>
                    <a:pt x="64" y="156"/>
                  </a:lnTo>
                  <a:lnTo>
                    <a:pt x="64" y="156"/>
                  </a:lnTo>
                  <a:lnTo>
                    <a:pt x="70" y="158"/>
                  </a:lnTo>
                  <a:lnTo>
                    <a:pt x="74" y="160"/>
                  </a:lnTo>
                  <a:lnTo>
                    <a:pt x="76" y="164"/>
                  </a:lnTo>
                  <a:lnTo>
                    <a:pt x="76" y="168"/>
                  </a:lnTo>
                  <a:lnTo>
                    <a:pt x="76" y="168"/>
                  </a:lnTo>
                  <a:lnTo>
                    <a:pt x="76" y="174"/>
                  </a:lnTo>
                  <a:lnTo>
                    <a:pt x="74" y="178"/>
                  </a:lnTo>
                  <a:lnTo>
                    <a:pt x="70" y="180"/>
                  </a:lnTo>
                  <a:lnTo>
                    <a:pt x="64" y="180"/>
                  </a:lnTo>
                  <a:lnTo>
                    <a:pt x="64" y="180"/>
                  </a:lnTo>
                  <a:close/>
                  <a:moveTo>
                    <a:pt x="96" y="240"/>
                  </a:moveTo>
                  <a:lnTo>
                    <a:pt x="96" y="240"/>
                  </a:lnTo>
                  <a:lnTo>
                    <a:pt x="92" y="238"/>
                  </a:lnTo>
                  <a:lnTo>
                    <a:pt x="88" y="236"/>
                  </a:lnTo>
                  <a:lnTo>
                    <a:pt x="86" y="232"/>
                  </a:lnTo>
                  <a:lnTo>
                    <a:pt x="84" y="228"/>
                  </a:lnTo>
                  <a:lnTo>
                    <a:pt x="84" y="228"/>
                  </a:lnTo>
                  <a:lnTo>
                    <a:pt x="86" y="222"/>
                  </a:lnTo>
                  <a:lnTo>
                    <a:pt x="88" y="218"/>
                  </a:lnTo>
                  <a:lnTo>
                    <a:pt x="92" y="216"/>
                  </a:lnTo>
                  <a:lnTo>
                    <a:pt x="96" y="216"/>
                  </a:lnTo>
                  <a:lnTo>
                    <a:pt x="96" y="216"/>
                  </a:lnTo>
                  <a:lnTo>
                    <a:pt x="102" y="216"/>
                  </a:lnTo>
                  <a:lnTo>
                    <a:pt x="106" y="218"/>
                  </a:lnTo>
                  <a:lnTo>
                    <a:pt x="108" y="222"/>
                  </a:lnTo>
                  <a:lnTo>
                    <a:pt x="108" y="228"/>
                  </a:lnTo>
                  <a:lnTo>
                    <a:pt x="108" y="228"/>
                  </a:lnTo>
                  <a:lnTo>
                    <a:pt x="108" y="232"/>
                  </a:lnTo>
                  <a:lnTo>
                    <a:pt x="106" y="236"/>
                  </a:lnTo>
                  <a:lnTo>
                    <a:pt x="102" y="238"/>
                  </a:lnTo>
                  <a:lnTo>
                    <a:pt x="96" y="240"/>
                  </a:lnTo>
                  <a:lnTo>
                    <a:pt x="96" y="240"/>
                  </a:lnTo>
                  <a:close/>
                  <a:moveTo>
                    <a:pt x="96" y="210"/>
                  </a:moveTo>
                  <a:lnTo>
                    <a:pt x="96" y="210"/>
                  </a:lnTo>
                  <a:lnTo>
                    <a:pt x="92" y="208"/>
                  </a:lnTo>
                  <a:lnTo>
                    <a:pt x="88" y="206"/>
                  </a:lnTo>
                  <a:lnTo>
                    <a:pt x="86" y="202"/>
                  </a:lnTo>
                  <a:lnTo>
                    <a:pt x="84" y="198"/>
                  </a:lnTo>
                  <a:lnTo>
                    <a:pt x="84" y="198"/>
                  </a:lnTo>
                  <a:lnTo>
                    <a:pt x="86" y="194"/>
                  </a:lnTo>
                  <a:lnTo>
                    <a:pt x="88" y="190"/>
                  </a:lnTo>
                  <a:lnTo>
                    <a:pt x="92" y="186"/>
                  </a:lnTo>
                  <a:lnTo>
                    <a:pt x="96" y="186"/>
                  </a:lnTo>
                  <a:lnTo>
                    <a:pt x="96" y="186"/>
                  </a:lnTo>
                  <a:lnTo>
                    <a:pt x="102" y="186"/>
                  </a:lnTo>
                  <a:lnTo>
                    <a:pt x="106" y="190"/>
                  </a:lnTo>
                  <a:lnTo>
                    <a:pt x="108" y="194"/>
                  </a:lnTo>
                  <a:lnTo>
                    <a:pt x="108" y="198"/>
                  </a:lnTo>
                  <a:lnTo>
                    <a:pt x="108" y="198"/>
                  </a:lnTo>
                  <a:lnTo>
                    <a:pt x="108" y="202"/>
                  </a:lnTo>
                  <a:lnTo>
                    <a:pt x="106" y="206"/>
                  </a:lnTo>
                  <a:lnTo>
                    <a:pt x="102" y="208"/>
                  </a:lnTo>
                  <a:lnTo>
                    <a:pt x="96" y="210"/>
                  </a:lnTo>
                  <a:lnTo>
                    <a:pt x="96" y="210"/>
                  </a:lnTo>
                  <a:close/>
                  <a:moveTo>
                    <a:pt x="96" y="180"/>
                  </a:moveTo>
                  <a:lnTo>
                    <a:pt x="96" y="180"/>
                  </a:lnTo>
                  <a:lnTo>
                    <a:pt x="92" y="180"/>
                  </a:lnTo>
                  <a:lnTo>
                    <a:pt x="88" y="178"/>
                  </a:lnTo>
                  <a:lnTo>
                    <a:pt x="86" y="174"/>
                  </a:lnTo>
                  <a:lnTo>
                    <a:pt x="84" y="168"/>
                  </a:lnTo>
                  <a:lnTo>
                    <a:pt x="84" y="168"/>
                  </a:lnTo>
                  <a:lnTo>
                    <a:pt x="86" y="164"/>
                  </a:lnTo>
                  <a:lnTo>
                    <a:pt x="88" y="160"/>
                  </a:lnTo>
                  <a:lnTo>
                    <a:pt x="92" y="158"/>
                  </a:lnTo>
                  <a:lnTo>
                    <a:pt x="96" y="156"/>
                  </a:lnTo>
                  <a:lnTo>
                    <a:pt x="96" y="156"/>
                  </a:lnTo>
                  <a:lnTo>
                    <a:pt x="102" y="158"/>
                  </a:lnTo>
                  <a:lnTo>
                    <a:pt x="106" y="160"/>
                  </a:lnTo>
                  <a:lnTo>
                    <a:pt x="108" y="164"/>
                  </a:lnTo>
                  <a:lnTo>
                    <a:pt x="108" y="168"/>
                  </a:lnTo>
                  <a:lnTo>
                    <a:pt x="108" y="168"/>
                  </a:lnTo>
                  <a:lnTo>
                    <a:pt x="108" y="174"/>
                  </a:lnTo>
                  <a:lnTo>
                    <a:pt x="106" y="178"/>
                  </a:lnTo>
                  <a:lnTo>
                    <a:pt x="102" y="180"/>
                  </a:lnTo>
                  <a:lnTo>
                    <a:pt x="96" y="180"/>
                  </a:lnTo>
                  <a:lnTo>
                    <a:pt x="96" y="180"/>
                  </a:lnTo>
                  <a:close/>
                  <a:moveTo>
                    <a:pt x="110" y="110"/>
                  </a:moveTo>
                  <a:lnTo>
                    <a:pt x="110" y="110"/>
                  </a:lnTo>
                  <a:lnTo>
                    <a:pt x="108" y="122"/>
                  </a:lnTo>
                  <a:lnTo>
                    <a:pt x="102" y="130"/>
                  </a:lnTo>
                  <a:lnTo>
                    <a:pt x="94" y="136"/>
                  </a:lnTo>
                  <a:lnTo>
                    <a:pt x="84" y="138"/>
                  </a:lnTo>
                  <a:lnTo>
                    <a:pt x="46" y="138"/>
                  </a:lnTo>
                  <a:lnTo>
                    <a:pt x="46" y="138"/>
                  </a:lnTo>
                  <a:lnTo>
                    <a:pt x="36" y="136"/>
                  </a:lnTo>
                  <a:lnTo>
                    <a:pt x="26" y="130"/>
                  </a:lnTo>
                  <a:lnTo>
                    <a:pt x="20" y="122"/>
                  </a:lnTo>
                  <a:lnTo>
                    <a:pt x="18" y="110"/>
                  </a:lnTo>
                  <a:lnTo>
                    <a:pt x="18" y="84"/>
                  </a:lnTo>
                  <a:lnTo>
                    <a:pt x="18" y="84"/>
                  </a:lnTo>
                  <a:lnTo>
                    <a:pt x="20" y="72"/>
                  </a:lnTo>
                  <a:lnTo>
                    <a:pt x="26" y="64"/>
                  </a:lnTo>
                  <a:lnTo>
                    <a:pt x="36" y="58"/>
                  </a:lnTo>
                  <a:lnTo>
                    <a:pt x="46" y="56"/>
                  </a:lnTo>
                  <a:lnTo>
                    <a:pt x="84" y="56"/>
                  </a:lnTo>
                  <a:lnTo>
                    <a:pt x="84" y="56"/>
                  </a:lnTo>
                  <a:lnTo>
                    <a:pt x="94" y="58"/>
                  </a:lnTo>
                  <a:lnTo>
                    <a:pt x="102" y="64"/>
                  </a:lnTo>
                  <a:lnTo>
                    <a:pt x="108" y="72"/>
                  </a:lnTo>
                  <a:lnTo>
                    <a:pt x="110" y="84"/>
                  </a:lnTo>
                  <a:lnTo>
                    <a:pt x="110" y="110"/>
                  </a:lnTo>
                  <a:close/>
                </a:path>
              </a:pathLst>
            </a:custGeom>
            <a:solidFill>
              <a:sysClr val="windowText" lastClr="000000">
                <a:lumMod val="75000"/>
                <a:lumOff val="25000"/>
              </a:sysClr>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86" name="Freeform 82"/>
            <p:cNvSpPr>
              <a:spLocks noEditPoints="1"/>
            </p:cNvSpPr>
            <p:nvPr/>
          </p:nvSpPr>
          <p:spPr bwMode="auto">
            <a:xfrm>
              <a:off x="3606349" y="1424611"/>
              <a:ext cx="81247" cy="171676"/>
            </a:xfrm>
            <a:custGeom>
              <a:avLst/>
              <a:gdLst/>
              <a:ahLst/>
              <a:cxnLst>
                <a:cxn ang="0">
                  <a:pos x="26" y="38"/>
                </a:cxn>
                <a:cxn ang="0">
                  <a:pos x="0" y="228"/>
                </a:cxn>
                <a:cxn ang="0">
                  <a:pos x="28" y="254"/>
                </a:cxn>
                <a:cxn ang="0">
                  <a:pos x="128" y="238"/>
                </a:cxn>
                <a:cxn ang="0">
                  <a:pos x="126" y="54"/>
                </a:cxn>
                <a:cxn ang="0">
                  <a:pos x="114" y="4"/>
                </a:cxn>
                <a:cxn ang="0">
                  <a:pos x="96" y="4"/>
                </a:cxn>
                <a:cxn ang="0">
                  <a:pos x="74" y="20"/>
                </a:cxn>
                <a:cxn ang="0">
                  <a:pos x="24" y="236"/>
                </a:cxn>
                <a:cxn ang="0">
                  <a:pos x="24" y="218"/>
                </a:cxn>
                <a:cxn ang="0">
                  <a:pos x="40" y="218"/>
                </a:cxn>
                <a:cxn ang="0">
                  <a:pos x="40" y="236"/>
                </a:cxn>
                <a:cxn ang="0">
                  <a:pos x="32" y="210"/>
                </a:cxn>
                <a:cxn ang="0">
                  <a:pos x="20" y="198"/>
                </a:cxn>
                <a:cxn ang="0">
                  <a:pos x="32" y="186"/>
                </a:cxn>
                <a:cxn ang="0">
                  <a:pos x="44" y="198"/>
                </a:cxn>
                <a:cxn ang="0">
                  <a:pos x="32" y="210"/>
                </a:cxn>
                <a:cxn ang="0">
                  <a:pos x="22" y="174"/>
                </a:cxn>
                <a:cxn ang="0">
                  <a:pos x="28" y="158"/>
                </a:cxn>
                <a:cxn ang="0">
                  <a:pos x="44" y="164"/>
                </a:cxn>
                <a:cxn ang="0">
                  <a:pos x="38" y="180"/>
                </a:cxn>
                <a:cxn ang="0">
                  <a:pos x="60" y="238"/>
                </a:cxn>
                <a:cxn ang="0">
                  <a:pos x="54" y="222"/>
                </a:cxn>
                <a:cxn ang="0">
                  <a:pos x="70" y="216"/>
                </a:cxn>
                <a:cxn ang="0">
                  <a:pos x="76" y="232"/>
                </a:cxn>
                <a:cxn ang="0">
                  <a:pos x="64" y="210"/>
                </a:cxn>
                <a:cxn ang="0">
                  <a:pos x="52" y="198"/>
                </a:cxn>
                <a:cxn ang="0">
                  <a:pos x="64" y="186"/>
                </a:cxn>
                <a:cxn ang="0">
                  <a:pos x="76" y="198"/>
                </a:cxn>
                <a:cxn ang="0">
                  <a:pos x="64" y="210"/>
                </a:cxn>
                <a:cxn ang="0">
                  <a:pos x="56" y="178"/>
                </a:cxn>
                <a:cxn ang="0">
                  <a:pos x="56" y="160"/>
                </a:cxn>
                <a:cxn ang="0">
                  <a:pos x="74" y="160"/>
                </a:cxn>
                <a:cxn ang="0">
                  <a:pos x="74" y="178"/>
                </a:cxn>
                <a:cxn ang="0">
                  <a:pos x="96" y="240"/>
                </a:cxn>
                <a:cxn ang="0">
                  <a:pos x="84" y="228"/>
                </a:cxn>
                <a:cxn ang="0">
                  <a:pos x="96" y="216"/>
                </a:cxn>
                <a:cxn ang="0">
                  <a:pos x="108" y="228"/>
                </a:cxn>
                <a:cxn ang="0">
                  <a:pos x="96" y="240"/>
                </a:cxn>
                <a:cxn ang="0">
                  <a:pos x="86" y="202"/>
                </a:cxn>
                <a:cxn ang="0">
                  <a:pos x="92" y="186"/>
                </a:cxn>
                <a:cxn ang="0">
                  <a:pos x="108" y="194"/>
                </a:cxn>
                <a:cxn ang="0">
                  <a:pos x="102" y="208"/>
                </a:cxn>
                <a:cxn ang="0">
                  <a:pos x="92" y="180"/>
                </a:cxn>
                <a:cxn ang="0">
                  <a:pos x="86" y="164"/>
                </a:cxn>
                <a:cxn ang="0">
                  <a:pos x="102" y="158"/>
                </a:cxn>
                <a:cxn ang="0">
                  <a:pos x="108" y="174"/>
                </a:cxn>
                <a:cxn ang="0">
                  <a:pos x="110" y="110"/>
                </a:cxn>
                <a:cxn ang="0">
                  <a:pos x="84" y="138"/>
                </a:cxn>
                <a:cxn ang="0">
                  <a:pos x="20" y="122"/>
                </a:cxn>
                <a:cxn ang="0">
                  <a:pos x="26" y="64"/>
                </a:cxn>
                <a:cxn ang="0">
                  <a:pos x="94" y="58"/>
                </a:cxn>
              </a:cxnLst>
              <a:rect l="0" t="0" r="r" b="b"/>
              <a:pathLst>
                <a:path w="130" h="254">
                  <a:moveTo>
                    <a:pt x="64" y="18"/>
                  </a:moveTo>
                  <a:lnTo>
                    <a:pt x="64" y="18"/>
                  </a:lnTo>
                  <a:lnTo>
                    <a:pt x="56" y="20"/>
                  </a:lnTo>
                  <a:lnTo>
                    <a:pt x="48" y="24"/>
                  </a:lnTo>
                  <a:lnTo>
                    <a:pt x="26" y="38"/>
                  </a:lnTo>
                  <a:lnTo>
                    <a:pt x="16" y="46"/>
                  </a:lnTo>
                  <a:lnTo>
                    <a:pt x="8" y="54"/>
                  </a:lnTo>
                  <a:lnTo>
                    <a:pt x="2" y="62"/>
                  </a:lnTo>
                  <a:lnTo>
                    <a:pt x="0" y="68"/>
                  </a:lnTo>
                  <a:lnTo>
                    <a:pt x="0" y="228"/>
                  </a:lnTo>
                  <a:lnTo>
                    <a:pt x="0" y="228"/>
                  </a:lnTo>
                  <a:lnTo>
                    <a:pt x="2" y="238"/>
                  </a:lnTo>
                  <a:lnTo>
                    <a:pt x="8" y="246"/>
                  </a:lnTo>
                  <a:lnTo>
                    <a:pt x="16" y="252"/>
                  </a:lnTo>
                  <a:lnTo>
                    <a:pt x="28" y="254"/>
                  </a:lnTo>
                  <a:lnTo>
                    <a:pt x="102" y="254"/>
                  </a:lnTo>
                  <a:lnTo>
                    <a:pt x="102" y="254"/>
                  </a:lnTo>
                  <a:lnTo>
                    <a:pt x="112" y="252"/>
                  </a:lnTo>
                  <a:lnTo>
                    <a:pt x="122" y="246"/>
                  </a:lnTo>
                  <a:lnTo>
                    <a:pt x="128" y="238"/>
                  </a:lnTo>
                  <a:lnTo>
                    <a:pt x="130" y="228"/>
                  </a:lnTo>
                  <a:lnTo>
                    <a:pt x="130" y="68"/>
                  </a:lnTo>
                  <a:lnTo>
                    <a:pt x="130" y="68"/>
                  </a:lnTo>
                  <a:lnTo>
                    <a:pt x="128" y="60"/>
                  </a:lnTo>
                  <a:lnTo>
                    <a:pt x="126" y="54"/>
                  </a:lnTo>
                  <a:lnTo>
                    <a:pt x="120" y="48"/>
                  </a:lnTo>
                  <a:lnTo>
                    <a:pt x="116" y="44"/>
                  </a:lnTo>
                  <a:lnTo>
                    <a:pt x="116" y="8"/>
                  </a:lnTo>
                  <a:lnTo>
                    <a:pt x="116" y="8"/>
                  </a:lnTo>
                  <a:lnTo>
                    <a:pt x="114" y="4"/>
                  </a:lnTo>
                  <a:lnTo>
                    <a:pt x="112" y="2"/>
                  </a:lnTo>
                  <a:lnTo>
                    <a:pt x="106" y="0"/>
                  </a:lnTo>
                  <a:lnTo>
                    <a:pt x="106" y="0"/>
                  </a:lnTo>
                  <a:lnTo>
                    <a:pt x="98" y="2"/>
                  </a:lnTo>
                  <a:lnTo>
                    <a:pt x="96" y="4"/>
                  </a:lnTo>
                  <a:lnTo>
                    <a:pt x="96" y="8"/>
                  </a:lnTo>
                  <a:lnTo>
                    <a:pt x="96" y="34"/>
                  </a:lnTo>
                  <a:lnTo>
                    <a:pt x="96" y="34"/>
                  </a:lnTo>
                  <a:lnTo>
                    <a:pt x="86" y="26"/>
                  </a:lnTo>
                  <a:lnTo>
                    <a:pt x="74" y="20"/>
                  </a:lnTo>
                  <a:lnTo>
                    <a:pt x="64" y="18"/>
                  </a:lnTo>
                  <a:close/>
                  <a:moveTo>
                    <a:pt x="32" y="240"/>
                  </a:moveTo>
                  <a:lnTo>
                    <a:pt x="32" y="240"/>
                  </a:lnTo>
                  <a:lnTo>
                    <a:pt x="28" y="238"/>
                  </a:lnTo>
                  <a:lnTo>
                    <a:pt x="24" y="236"/>
                  </a:lnTo>
                  <a:lnTo>
                    <a:pt x="22" y="232"/>
                  </a:lnTo>
                  <a:lnTo>
                    <a:pt x="20" y="228"/>
                  </a:lnTo>
                  <a:lnTo>
                    <a:pt x="20" y="228"/>
                  </a:lnTo>
                  <a:lnTo>
                    <a:pt x="22" y="222"/>
                  </a:lnTo>
                  <a:lnTo>
                    <a:pt x="24" y="218"/>
                  </a:lnTo>
                  <a:lnTo>
                    <a:pt x="28" y="216"/>
                  </a:lnTo>
                  <a:lnTo>
                    <a:pt x="32" y="216"/>
                  </a:lnTo>
                  <a:lnTo>
                    <a:pt x="32" y="216"/>
                  </a:lnTo>
                  <a:lnTo>
                    <a:pt x="38" y="216"/>
                  </a:lnTo>
                  <a:lnTo>
                    <a:pt x="40" y="218"/>
                  </a:lnTo>
                  <a:lnTo>
                    <a:pt x="44" y="222"/>
                  </a:lnTo>
                  <a:lnTo>
                    <a:pt x="44" y="228"/>
                  </a:lnTo>
                  <a:lnTo>
                    <a:pt x="44" y="228"/>
                  </a:lnTo>
                  <a:lnTo>
                    <a:pt x="44" y="232"/>
                  </a:lnTo>
                  <a:lnTo>
                    <a:pt x="40" y="236"/>
                  </a:lnTo>
                  <a:lnTo>
                    <a:pt x="38" y="238"/>
                  </a:lnTo>
                  <a:lnTo>
                    <a:pt x="32" y="240"/>
                  </a:lnTo>
                  <a:lnTo>
                    <a:pt x="32" y="240"/>
                  </a:lnTo>
                  <a:close/>
                  <a:moveTo>
                    <a:pt x="32" y="210"/>
                  </a:moveTo>
                  <a:lnTo>
                    <a:pt x="32" y="210"/>
                  </a:lnTo>
                  <a:lnTo>
                    <a:pt x="28" y="208"/>
                  </a:lnTo>
                  <a:lnTo>
                    <a:pt x="24" y="206"/>
                  </a:lnTo>
                  <a:lnTo>
                    <a:pt x="22" y="202"/>
                  </a:lnTo>
                  <a:lnTo>
                    <a:pt x="20" y="198"/>
                  </a:lnTo>
                  <a:lnTo>
                    <a:pt x="20" y="198"/>
                  </a:lnTo>
                  <a:lnTo>
                    <a:pt x="22" y="194"/>
                  </a:lnTo>
                  <a:lnTo>
                    <a:pt x="24" y="190"/>
                  </a:lnTo>
                  <a:lnTo>
                    <a:pt x="28" y="186"/>
                  </a:lnTo>
                  <a:lnTo>
                    <a:pt x="32" y="186"/>
                  </a:lnTo>
                  <a:lnTo>
                    <a:pt x="32" y="186"/>
                  </a:lnTo>
                  <a:lnTo>
                    <a:pt x="38" y="186"/>
                  </a:lnTo>
                  <a:lnTo>
                    <a:pt x="40" y="190"/>
                  </a:lnTo>
                  <a:lnTo>
                    <a:pt x="44" y="194"/>
                  </a:lnTo>
                  <a:lnTo>
                    <a:pt x="44" y="198"/>
                  </a:lnTo>
                  <a:lnTo>
                    <a:pt x="44" y="198"/>
                  </a:lnTo>
                  <a:lnTo>
                    <a:pt x="44" y="202"/>
                  </a:lnTo>
                  <a:lnTo>
                    <a:pt x="40" y="206"/>
                  </a:lnTo>
                  <a:lnTo>
                    <a:pt x="38" y="208"/>
                  </a:lnTo>
                  <a:lnTo>
                    <a:pt x="32" y="210"/>
                  </a:lnTo>
                  <a:lnTo>
                    <a:pt x="32" y="210"/>
                  </a:lnTo>
                  <a:close/>
                  <a:moveTo>
                    <a:pt x="32" y="180"/>
                  </a:moveTo>
                  <a:lnTo>
                    <a:pt x="32" y="180"/>
                  </a:lnTo>
                  <a:lnTo>
                    <a:pt x="28" y="180"/>
                  </a:lnTo>
                  <a:lnTo>
                    <a:pt x="24" y="178"/>
                  </a:lnTo>
                  <a:lnTo>
                    <a:pt x="22" y="174"/>
                  </a:lnTo>
                  <a:lnTo>
                    <a:pt x="20" y="168"/>
                  </a:lnTo>
                  <a:lnTo>
                    <a:pt x="20" y="168"/>
                  </a:lnTo>
                  <a:lnTo>
                    <a:pt x="22" y="164"/>
                  </a:lnTo>
                  <a:lnTo>
                    <a:pt x="24" y="160"/>
                  </a:lnTo>
                  <a:lnTo>
                    <a:pt x="28" y="158"/>
                  </a:lnTo>
                  <a:lnTo>
                    <a:pt x="32" y="156"/>
                  </a:lnTo>
                  <a:lnTo>
                    <a:pt x="32" y="156"/>
                  </a:lnTo>
                  <a:lnTo>
                    <a:pt x="38" y="158"/>
                  </a:lnTo>
                  <a:lnTo>
                    <a:pt x="40" y="160"/>
                  </a:lnTo>
                  <a:lnTo>
                    <a:pt x="44" y="164"/>
                  </a:lnTo>
                  <a:lnTo>
                    <a:pt x="44" y="168"/>
                  </a:lnTo>
                  <a:lnTo>
                    <a:pt x="44" y="168"/>
                  </a:lnTo>
                  <a:lnTo>
                    <a:pt x="44" y="174"/>
                  </a:lnTo>
                  <a:lnTo>
                    <a:pt x="40" y="178"/>
                  </a:lnTo>
                  <a:lnTo>
                    <a:pt x="38" y="180"/>
                  </a:lnTo>
                  <a:lnTo>
                    <a:pt x="32" y="180"/>
                  </a:lnTo>
                  <a:lnTo>
                    <a:pt x="32" y="180"/>
                  </a:lnTo>
                  <a:close/>
                  <a:moveTo>
                    <a:pt x="64" y="240"/>
                  </a:moveTo>
                  <a:lnTo>
                    <a:pt x="64" y="240"/>
                  </a:lnTo>
                  <a:lnTo>
                    <a:pt x="60" y="238"/>
                  </a:lnTo>
                  <a:lnTo>
                    <a:pt x="56" y="236"/>
                  </a:lnTo>
                  <a:lnTo>
                    <a:pt x="54" y="232"/>
                  </a:lnTo>
                  <a:lnTo>
                    <a:pt x="52" y="228"/>
                  </a:lnTo>
                  <a:lnTo>
                    <a:pt x="52" y="228"/>
                  </a:lnTo>
                  <a:lnTo>
                    <a:pt x="54" y="222"/>
                  </a:lnTo>
                  <a:lnTo>
                    <a:pt x="56" y="218"/>
                  </a:lnTo>
                  <a:lnTo>
                    <a:pt x="60" y="216"/>
                  </a:lnTo>
                  <a:lnTo>
                    <a:pt x="64" y="216"/>
                  </a:lnTo>
                  <a:lnTo>
                    <a:pt x="64" y="216"/>
                  </a:lnTo>
                  <a:lnTo>
                    <a:pt x="70" y="216"/>
                  </a:lnTo>
                  <a:lnTo>
                    <a:pt x="74" y="218"/>
                  </a:lnTo>
                  <a:lnTo>
                    <a:pt x="76" y="222"/>
                  </a:lnTo>
                  <a:lnTo>
                    <a:pt x="76" y="228"/>
                  </a:lnTo>
                  <a:lnTo>
                    <a:pt x="76" y="228"/>
                  </a:lnTo>
                  <a:lnTo>
                    <a:pt x="76" y="232"/>
                  </a:lnTo>
                  <a:lnTo>
                    <a:pt x="74" y="236"/>
                  </a:lnTo>
                  <a:lnTo>
                    <a:pt x="70" y="238"/>
                  </a:lnTo>
                  <a:lnTo>
                    <a:pt x="64" y="240"/>
                  </a:lnTo>
                  <a:lnTo>
                    <a:pt x="64" y="240"/>
                  </a:lnTo>
                  <a:close/>
                  <a:moveTo>
                    <a:pt x="64" y="210"/>
                  </a:moveTo>
                  <a:lnTo>
                    <a:pt x="64" y="210"/>
                  </a:lnTo>
                  <a:lnTo>
                    <a:pt x="60" y="208"/>
                  </a:lnTo>
                  <a:lnTo>
                    <a:pt x="56" y="206"/>
                  </a:lnTo>
                  <a:lnTo>
                    <a:pt x="54" y="202"/>
                  </a:lnTo>
                  <a:lnTo>
                    <a:pt x="52" y="198"/>
                  </a:lnTo>
                  <a:lnTo>
                    <a:pt x="52" y="198"/>
                  </a:lnTo>
                  <a:lnTo>
                    <a:pt x="54" y="194"/>
                  </a:lnTo>
                  <a:lnTo>
                    <a:pt x="56" y="190"/>
                  </a:lnTo>
                  <a:lnTo>
                    <a:pt x="60" y="186"/>
                  </a:lnTo>
                  <a:lnTo>
                    <a:pt x="64" y="186"/>
                  </a:lnTo>
                  <a:lnTo>
                    <a:pt x="64" y="186"/>
                  </a:lnTo>
                  <a:lnTo>
                    <a:pt x="70" y="186"/>
                  </a:lnTo>
                  <a:lnTo>
                    <a:pt x="74" y="190"/>
                  </a:lnTo>
                  <a:lnTo>
                    <a:pt x="76" y="194"/>
                  </a:lnTo>
                  <a:lnTo>
                    <a:pt x="76" y="198"/>
                  </a:lnTo>
                  <a:lnTo>
                    <a:pt x="76" y="198"/>
                  </a:lnTo>
                  <a:lnTo>
                    <a:pt x="76" y="202"/>
                  </a:lnTo>
                  <a:lnTo>
                    <a:pt x="74" y="206"/>
                  </a:lnTo>
                  <a:lnTo>
                    <a:pt x="70" y="208"/>
                  </a:lnTo>
                  <a:lnTo>
                    <a:pt x="64" y="210"/>
                  </a:lnTo>
                  <a:lnTo>
                    <a:pt x="64" y="210"/>
                  </a:lnTo>
                  <a:close/>
                  <a:moveTo>
                    <a:pt x="64" y="180"/>
                  </a:moveTo>
                  <a:lnTo>
                    <a:pt x="64" y="180"/>
                  </a:lnTo>
                  <a:lnTo>
                    <a:pt x="60" y="180"/>
                  </a:lnTo>
                  <a:lnTo>
                    <a:pt x="56" y="178"/>
                  </a:lnTo>
                  <a:lnTo>
                    <a:pt x="54" y="174"/>
                  </a:lnTo>
                  <a:lnTo>
                    <a:pt x="52" y="168"/>
                  </a:lnTo>
                  <a:lnTo>
                    <a:pt x="52" y="168"/>
                  </a:lnTo>
                  <a:lnTo>
                    <a:pt x="54" y="164"/>
                  </a:lnTo>
                  <a:lnTo>
                    <a:pt x="56" y="160"/>
                  </a:lnTo>
                  <a:lnTo>
                    <a:pt x="60" y="158"/>
                  </a:lnTo>
                  <a:lnTo>
                    <a:pt x="64" y="156"/>
                  </a:lnTo>
                  <a:lnTo>
                    <a:pt x="64" y="156"/>
                  </a:lnTo>
                  <a:lnTo>
                    <a:pt x="70" y="158"/>
                  </a:lnTo>
                  <a:lnTo>
                    <a:pt x="74" y="160"/>
                  </a:lnTo>
                  <a:lnTo>
                    <a:pt x="76" y="164"/>
                  </a:lnTo>
                  <a:lnTo>
                    <a:pt x="76" y="168"/>
                  </a:lnTo>
                  <a:lnTo>
                    <a:pt x="76" y="168"/>
                  </a:lnTo>
                  <a:lnTo>
                    <a:pt x="76" y="174"/>
                  </a:lnTo>
                  <a:lnTo>
                    <a:pt x="74" y="178"/>
                  </a:lnTo>
                  <a:lnTo>
                    <a:pt x="70" y="180"/>
                  </a:lnTo>
                  <a:lnTo>
                    <a:pt x="64" y="180"/>
                  </a:lnTo>
                  <a:lnTo>
                    <a:pt x="64" y="180"/>
                  </a:lnTo>
                  <a:close/>
                  <a:moveTo>
                    <a:pt x="96" y="240"/>
                  </a:moveTo>
                  <a:lnTo>
                    <a:pt x="96" y="240"/>
                  </a:lnTo>
                  <a:lnTo>
                    <a:pt x="92" y="238"/>
                  </a:lnTo>
                  <a:lnTo>
                    <a:pt x="88" y="236"/>
                  </a:lnTo>
                  <a:lnTo>
                    <a:pt x="86" y="232"/>
                  </a:lnTo>
                  <a:lnTo>
                    <a:pt x="84" y="228"/>
                  </a:lnTo>
                  <a:lnTo>
                    <a:pt x="84" y="228"/>
                  </a:lnTo>
                  <a:lnTo>
                    <a:pt x="86" y="222"/>
                  </a:lnTo>
                  <a:lnTo>
                    <a:pt x="88" y="218"/>
                  </a:lnTo>
                  <a:lnTo>
                    <a:pt x="92" y="216"/>
                  </a:lnTo>
                  <a:lnTo>
                    <a:pt x="96" y="216"/>
                  </a:lnTo>
                  <a:lnTo>
                    <a:pt x="96" y="216"/>
                  </a:lnTo>
                  <a:lnTo>
                    <a:pt x="102" y="216"/>
                  </a:lnTo>
                  <a:lnTo>
                    <a:pt x="106" y="218"/>
                  </a:lnTo>
                  <a:lnTo>
                    <a:pt x="108" y="222"/>
                  </a:lnTo>
                  <a:lnTo>
                    <a:pt x="108" y="228"/>
                  </a:lnTo>
                  <a:lnTo>
                    <a:pt x="108" y="228"/>
                  </a:lnTo>
                  <a:lnTo>
                    <a:pt x="108" y="232"/>
                  </a:lnTo>
                  <a:lnTo>
                    <a:pt x="106" y="236"/>
                  </a:lnTo>
                  <a:lnTo>
                    <a:pt x="102" y="238"/>
                  </a:lnTo>
                  <a:lnTo>
                    <a:pt x="96" y="240"/>
                  </a:lnTo>
                  <a:lnTo>
                    <a:pt x="96" y="240"/>
                  </a:lnTo>
                  <a:close/>
                  <a:moveTo>
                    <a:pt x="96" y="210"/>
                  </a:moveTo>
                  <a:lnTo>
                    <a:pt x="96" y="210"/>
                  </a:lnTo>
                  <a:lnTo>
                    <a:pt x="92" y="208"/>
                  </a:lnTo>
                  <a:lnTo>
                    <a:pt x="88" y="206"/>
                  </a:lnTo>
                  <a:lnTo>
                    <a:pt x="86" y="202"/>
                  </a:lnTo>
                  <a:lnTo>
                    <a:pt x="84" y="198"/>
                  </a:lnTo>
                  <a:lnTo>
                    <a:pt x="84" y="198"/>
                  </a:lnTo>
                  <a:lnTo>
                    <a:pt x="86" y="194"/>
                  </a:lnTo>
                  <a:lnTo>
                    <a:pt x="88" y="190"/>
                  </a:lnTo>
                  <a:lnTo>
                    <a:pt x="92" y="186"/>
                  </a:lnTo>
                  <a:lnTo>
                    <a:pt x="96" y="186"/>
                  </a:lnTo>
                  <a:lnTo>
                    <a:pt x="96" y="186"/>
                  </a:lnTo>
                  <a:lnTo>
                    <a:pt x="102" y="186"/>
                  </a:lnTo>
                  <a:lnTo>
                    <a:pt x="106" y="190"/>
                  </a:lnTo>
                  <a:lnTo>
                    <a:pt x="108" y="194"/>
                  </a:lnTo>
                  <a:lnTo>
                    <a:pt x="108" y="198"/>
                  </a:lnTo>
                  <a:lnTo>
                    <a:pt x="108" y="198"/>
                  </a:lnTo>
                  <a:lnTo>
                    <a:pt x="108" y="202"/>
                  </a:lnTo>
                  <a:lnTo>
                    <a:pt x="106" y="206"/>
                  </a:lnTo>
                  <a:lnTo>
                    <a:pt x="102" y="208"/>
                  </a:lnTo>
                  <a:lnTo>
                    <a:pt x="96" y="210"/>
                  </a:lnTo>
                  <a:lnTo>
                    <a:pt x="96" y="210"/>
                  </a:lnTo>
                  <a:close/>
                  <a:moveTo>
                    <a:pt x="96" y="180"/>
                  </a:moveTo>
                  <a:lnTo>
                    <a:pt x="96" y="180"/>
                  </a:lnTo>
                  <a:lnTo>
                    <a:pt x="92" y="180"/>
                  </a:lnTo>
                  <a:lnTo>
                    <a:pt x="88" y="178"/>
                  </a:lnTo>
                  <a:lnTo>
                    <a:pt x="86" y="174"/>
                  </a:lnTo>
                  <a:lnTo>
                    <a:pt x="84" y="168"/>
                  </a:lnTo>
                  <a:lnTo>
                    <a:pt x="84" y="168"/>
                  </a:lnTo>
                  <a:lnTo>
                    <a:pt x="86" y="164"/>
                  </a:lnTo>
                  <a:lnTo>
                    <a:pt x="88" y="160"/>
                  </a:lnTo>
                  <a:lnTo>
                    <a:pt x="92" y="158"/>
                  </a:lnTo>
                  <a:lnTo>
                    <a:pt x="96" y="156"/>
                  </a:lnTo>
                  <a:lnTo>
                    <a:pt x="96" y="156"/>
                  </a:lnTo>
                  <a:lnTo>
                    <a:pt x="102" y="158"/>
                  </a:lnTo>
                  <a:lnTo>
                    <a:pt x="106" y="160"/>
                  </a:lnTo>
                  <a:lnTo>
                    <a:pt x="108" y="164"/>
                  </a:lnTo>
                  <a:lnTo>
                    <a:pt x="108" y="168"/>
                  </a:lnTo>
                  <a:lnTo>
                    <a:pt x="108" y="168"/>
                  </a:lnTo>
                  <a:lnTo>
                    <a:pt x="108" y="174"/>
                  </a:lnTo>
                  <a:lnTo>
                    <a:pt x="106" y="178"/>
                  </a:lnTo>
                  <a:lnTo>
                    <a:pt x="102" y="180"/>
                  </a:lnTo>
                  <a:lnTo>
                    <a:pt x="96" y="180"/>
                  </a:lnTo>
                  <a:lnTo>
                    <a:pt x="96" y="180"/>
                  </a:lnTo>
                  <a:close/>
                  <a:moveTo>
                    <a:pt x="110" y="110"/>
                  </a:moveTo>
                  <a:lnTo>
                    <a:pt x="110" y="110"/>
                  </a:lnTo>
                  <a:lnTo>
                    <a:pt x="108" y="122"/>
                  </a:lnTo>
                  <a:lnTo>
                    <a:pt x="102" y="130"/>
                  </a:lnTo>
                  <a:lnTo>
                    <a:pt x="94" y="136"/>
                  </a:lnTo>
                  <a:lnTo>
                    <a:pt x="84" y="138"/>
                  </a:lnTo>
                  <a:lnTo>
                    <a:pt x="46" y="138"/>
                  </a:lnTo>
                  <a:lnTo>
                    <a:pt x="46" y="138"/>
                  </a:lnTo>
                  <a:lnTo>
                    <a:pt x="36" y="136"/>
                  </a:lnTo>
                  <a:lnTo>
                    <a:pt x="26" y="130"/>
                  </a:lnTo>
                  <a:lnTo>
                    <a:pt x="20" y="122"/>
                  </a:lnTo>
                  <a:lnTo>
                    <a:pt x="18" y="110"/>
                  </a:lnTo>
                  <a:lnTo>
                    <a:pt x="18" y="84"/>
                  </a:lnTo>
                  <a:lnTo>
                    <a:pt x="18" y="84"/>
                  </a:lnTo>
                  <a:lnTo>
                    <a:pt x="20" y="72"/>
                  </a:lnTo>
                  <a:lnTo>
                    <a:pt x="26" y="64"/>
                  </a:lnTo>
                  <a:lnTo>
                    <a:pt x="36" y="58"/>
                  </a:lnTo>
                  <a:lnTo>
                    <a:pt x="46" y="56"/>
                  </a:lnTo>
                  <a:lnTo>
                    <a:pt x="84" y="56"/>
                  </a:lnTo>
                  <a:lnTo>
                    <a:pt x="84" y="56"/>
                  </a:lnTo>
                  <a:lnTo>
                    <a:pt x="94" y="58"/>
                  </a:lnTo>
                  <a:lnTo>
                    <a:pt x="102" y="64"/>
                  </a:lnTo>
                  <a:lnTo>
                    <a:pt x="108" y="72"/>
                  </a:lnTo>
                  <a:lnTo>
                    <a:pt x="110" y="84"/>
                  </a:lnTo>
                  <a:lnTo>
                    <a:pt x="110" y="110"/>
                  </a:lnTo>
                  <a:close/>
                </a:path>
              </a:pathLst>
            </a:custGeom>
            <a:solidFill>
              <a:sysClr val="windowText" lastClr="000000">
                <a:lumMod val="75000"/>
                <a:lumOff val="25000"/>
              </a:sysClr>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87" name="Freeform 82"/>
            <p:cNvSpPr>
              <a:spLocks noEditPoints="1"/>
            </p:cNvSpPr>
            <p:nvPr/>
          </p:nvSpPr>
          <p:spPr bwMode="auto">
            <a:xfrm>
              <a:off x="2587676" y="969357"/>
              <a:ext cx="81247" cy="171676"/>
            </a:xfrm>
            <a:custGeom>
              <a:avLst/>
              <a:gdLst/>
              <a:ahLst/>
              <a:cxnLst>
                <a:cxn ang="0">
                  <a:pos x="26" y="38"/>
                </a:cxn>
                <a:cxn ang="0">
                  <a:pos x="0" y="228"/>
                </a:cxn>
                <a:cxn ang="0">
                  <a:pos x="28" y="254"/>
                </a:cxn>
                <a:cxn ang="0">
                  <a:pos x="128" y="238"/>
                </a:cxn>
                <a:cxn ang="0">
                  <a:pos x="126" y="54"/>
                </a:cxn>
                <a:cxn ang="0">
                  <a:pos x="114" y="4"/>
                </a:cxn>
                <a:cxn ang="0">
                  <a:pos x="96" y="4"/>
                </a:cxn>
                <a:cxn ang="0">
                  <a:pos x="74" y="20"/>
                </a:cxn>
                <a:cxn ang="0">
                  <a:pos x="24" y="236"/>
                </a:cxn>
                <a:cxn ang="0">
                  <a:pos x="24" y="218"/>
                </a:cxn>
                <a:cxn ang="0">
                  <a:pos x="40" y="218"/>
                </a:cxn>
                <a:cxn ang="0">
                  <a:pos x="40" y="236"/>
                </a:cxn>
                <a:cxn ang="0">
                  <a:pos x="32" y="210"/>
                </a:cxn>
                <a:cxn ang="0">
                  <a:pos x="20" y="198"/>
                </a:cxn>
                <a:cxn ang="0">
                  <a:pos x="32" y="186"/>
                </a:cxn>
                <a:cxn ang="0">
                  <a:pos x="44" y="198"/>
                </a:cxn>
                <a:cxn ang="0">
                  <a:pos x="32" y="210"/>
                </a:cxn>
                <a:cxn ang="0">
                  <a:pos x="22" y="174"/>
                </a:cxn>
                <a:cxn ang="0">
                  <a:pos x="28" y="158"/>
                </a:cxn>
                <a:cxn ang="0">
                  <a:pos x="44" y="164"/>
                </a:cxn>
                <a:cxn ang="0">
                  <a:pos x="38" y="180"/>
                </a:cxn>
                <a:cxn ang="0">
                  <a:pos x="60" y="238"/>
                </a:cxn>
                <a:cxn ang="0">
                  <a:pos x="54" y="222"/>
                </a:cxn>
                <a:cxn ang="0">
                  <a:pos x="70" y="216"/>
                </a:cxn>
                <a:cxn ang="0">
                  <a:pos x="76" y="232"/>
                </a:cxn>
                <a:cxn ang="0">
                  <a:pos x="64" y="210"/>
                </a:cxn>
                <a:cxn ang="0">
                  <a:pos x="52" y="198"/>
                </a:cxn>
                <a:cxn ang="0">
                  <a:pos x="64" y="186"/>
                </a:cxn>
                <a:cxn ang="0">
                  <a:pos x="76" y="198"/>
                </a:cxn>
                <a:cxn ang="0">
                  <a:pos x="64" y="210"/>
                </a:cxn>
                <a:cxn ang="0">
                  <a:pos x="56" y="178"/>
                </a:cxn>
                <a:cxn ang="0">
                  <a:pos x="56" y="160"/>
                </a:cxn>
                <a:cxn ang="0">
                  <a:pos x="74" y="160"/>
                </a:cxn>
                <a:cxn ang="0">
                  <a:pos x="74" y="178"/>
                </a:cxn>
                <a:cxn ang="0">
                  <a:pos x="96" y="240"/>
                </a:cxn>
                <a:cxn ang="0">
                  <a:pos x="84" y="228"/>
                </a:cxn>
                <a:cxn ang="0">
                  <a:pos x="96" y="216"/>
                </a:cxn>
                <a:cxn ang="0">
                  <a:pos x="108" y="228"/>
                </a:cxn>
                <a:cxn ang="0">
                  <a:pos x="96" y="240"/>
                </a:cxn>
                <a:cxn ang="0">
                  <a:pos x="86" y="202"/>
                </a:cxn>
                <a:cxn ang="0">
                  <a:pos x="92" y="186"/>
                </a:cxn>
                <a:cxn ang="0">
                  <a:pos x="108" y="194"/>
                </a:cxn>
                <a:cxn ang="0">
                  <a:pos x="102" y="208"/>
                </a:cxn>
                <a:cxn ang="0">
                  <a:pos x="92" y="180"/>
                </a:cxn>
                <a:cxn ang="0">
                  <a:pos x="86" y="164"/>
                </a:cxn>
                <a:cxn ang="0">
                  <a:pos x="102" y="158"/>
                </a:cxn>
                <a:cxn ang="0">
                  <a:pos x="108" y="174"/>
                </a:cxn>
                <a:cxn ang="0">
                  <a:pos x="110" y="110"/>
                </a:cxn>
                <a:cxn ang="0">
                  <a:pos x="84" y="138"/>
                </a:cxn>
                <a:cxn ang="0">
                  <a:pos x="20" y="122"/>
                </a:cxn>
                <a:cxn ang="0">
                  <a:pos x="26" y="64"/>
                </a:cxn>
                <a:cxn ang="0">
                  <a:pos x="94" y="58"/>
                </a:cxn>
              </a:cxnLst>
              <a:rect l="0" t="0" r="r" b="b"/>
              <a:pathLst>
                <a:path w="130" h="254">
                  <a:moveTo>
                    <a:pt x="64" y="18"/>
                  </a:moveTo>
                  <a:lnTo>
                    <a:pt x="64" y="18"/>
                  </a:lnTo>
                  <a:lnTo>
                    <a:pt x="56" y="20"/>
                  </a:lnTo>
                  <a:lnTo>
                    <a:pt x="48" y="24"/>
                  </a:lnTo>
                  <a:lnTo>
                    <a:pt x="26" y="38"/>
                  </a:lnTo>
                  <a:lnTo>
                    <a:pt x="16" y="46"/>
                  </a:lnTo>
                  <a:lnTo>
                    <a:pt x="8" y="54"/>
                  </a:lnTo>
                  <a:lnTo>
                    <a:pt x="2" y="62"/>
                  </a:lnTo>
                  <a:lnTo>
                    <a:pt x="0" y="68"/>
                  </a:lnTo>
                  <a:lnTo>
                    <a:pt x="0" y="228"/>
                  </a:lnTo>
                  <a:lnTo>
                    <a:pt x="0" y="228"/>
                  </a:lnTo>
                  <a:lnTo>
                    <a:pt x="2" y="238"/>
                  </a:lnTo>
                  <a:lnTo>
                    <a:pt x="8" y="246"/>
                  </a:lnTo>
                  <a:lnTo>
                    <a:pt x="16" y="252"/>
                  </a:lnTo>
                  <a:lnTo>
                    <a:pt x="28" y="254"/>
                  </a:lnTo>
                  <a:lnTo>
                    <a:pt x="102" y="254"/>
                  </a:lnTo>
                  <a:lnTo>
                    <a:pt x="102" y="254"/>
                  </a:lnTo>
                  <a:lnTo>
                    <a:pt x="112" y="252"/>
                  </a:lnTo>
                  <a:lnTo>
                    <a:pt x="122" y="246"/>
                  </a:lnTo>
                  <a:lnTo>
                    <a:pt x="128" y="238"/>
                  </a:lnTo>
                  <a:lnTo>
                    <a:pt x="130" y="228"/>
                  </a:lnTo>
                  <a:lnTo>
                    <a:pt x="130" y="68"/>
                  </a:lnTo>
                  <a:lnTo>
                    <a:pt x="130" y="68"/>
                  </a:lnTo>
                  <a:lnTo>
                    <a:pt x="128" y="60"/>
                  </a:lnTo>
                  <a:lnTo>
                    <a:pt x="126" y="54"/>
                  </a:lnTo>
                  <a:lnTo>
                    <a:pt x="120" y="48"/>
                  </a:lnTo>
                  <a:lnTo>
                    <a:pt x="116" y="44"/>
                  </a:lnTo>
                  <a:lnTo>
                    <a:pt x="116" y="8"/>
                  </a:lnTo>
                  <a:lnTo>
                    <a:pt x="116" y="8"/>
                  </a:lnTo>
                  <a:lnTo>
                    <a:pt x="114" y="4"/>
                  </a:lnTo>
                  <a:lnTo>
                    <a:pt x="112" y="2"/>
                  </a:lnTo>
                  <a:lnTo>
                    <a:pt x="106" y="0"/>
                  </a:lnTo>
                  <a:lnTo>
                    <a:pt x="106" y="0"/>
                  </a:lnTo>
                  <a:lnTo>
                    <a:pt x="98" y="2"/>
                  </a:lnTo>
                  <a:lnTo>
                    <a:pt x="96" y="4"/>
                  </a:lnTo>
                  <a:lnTo>
                    <a:pt x="96" y="8"/>
                  </a:lnTo>
                  <a:lnTo>
                    <a:pt x="96" y="34"/>
                  </a:lnTo>
                  <a:lnTo>
                    <a:pt x="96" y="34"/>
                  </a:lnTo>
                  <a:lnTo>
                    <a:pt x="86" y="26"/>
                  </a:lnTo>
                  <a:lnTo>
                    <a:pt x="74" y="20"/>
                  </a:lnTo>
                  <a:lnTo>
                    <a:pt x="64" y="18"/>
                  </a:lnTo>
                  <a:close/>
                  <a:moveTo>
                    <a:pt x="32" y="240"/>
                  </a:moveTo>
                  <a:lnTo>
                    <a:pt x="32" y="240"/>
                  </a:lnTo>
                  <a:lnTo>
                    <a:pt x="28" y="238"/>
                  </a:lnTo>
                  <a:lnTo>
                    <a:pt x="24" y="236"/>
                  </a:lnTo>
                  <a:lnTo>
                    <a:pt x="22" y="232"/>
                  </a:lnTo>
                  <a:lnTo>
                    <a:pt x="20" y="228"/>
                  </a:lnTo>
                  <a:lnTo>
                    <a:pt x="20" y="228"/>
                  </a:lnTo>
                  <a:lnTo>
                    <a:pt x="22" y="222"/>
                  </a:lnTo>
                  <a:lnTo>
                    <a:pt x="24" y="218"/>
                  </a:lnTo>
                  <a:lnTo>
                    <a:pt x="28" y="216"/>
                  </a:lnTo>
                  <a:lnTo>
                    <a:pt x="32" y="216"/>
                  </a:lnTo>
                  <a:lnTo>
                    <a:pt x="32" y="216"/>
                  </a:lnTo>
                  <a:lnTo>
                    <a:pt x="38" y="216"/>
                  </a:lnTo>
                  <a:lnTo>
                    <a:pt x="40" y="218"/>
                  </a:lnTo>
                  <a:lnTo>
                    <a:pt x="44" y="222"/>
                  </a:lnTo>
                  <a:lnTo>
                    <a:pt x="44" y="228"/>
                  </a:lnTo>
                  <a:lnTo>
                    <a:pt x="44" y="228"/>
                  </a:lnTo>
                  <a:lnTo>
                    <a:pt x="44" y="232"/>
                  </a:lnTo>
                  <a:lnTo>
                    <a:pt x="40" y="236"/>
                  </a:lnTo>
                  <a:lnTo>
                    <a:pt x="38" y="238"/>
                  </a:lnTo>
                  <a:lnTo>
                    <a:pt x="32" y="240"/>
                  </a:lnTo>
                  <a:lnTo>
                    <a:pt x="32" y="240"/>
                  </a:lnTo>
                  <a:close/>
                  <a:moveTo>
                    <a:pt x="32" y="210"/>
                  </a:moveTo>
                  <a:lnTo>
                    <a:pt x="32" y="210"/>
                  </a:lnTo>
                  <a:lnTo>
                    <a:pt x="28" y="208"/>
                  </a:lnTo>
                  <a:lnTo>
                    <a:pt x="24" y="206"/>
                  </a:lnTo>
                  <a:lnTo>
                    <a:pt x="22" y="202"/>
                  </a:lnTo>
                  <a:lnTo>
                    <a:pt x="20" y="198"/>
                  </a:lnTo>
                  <a:lnTo>
                    <a:pt x="20" y="198"/>
                  </a:lnTo>
                  <a:lnTo>
                    <a:pt x="22" y="194"/>
                  </a:lnTo>
                  <a:lnTo>
                    <a:pt x="24" y="190"/>
                  </a:lnTo>
                  <a:lnTo>
                    <a:pt x="28" y="186"/>
                  </a:lnTo>
                  <a:lnTo>
                    <a:pt x="32" y="186"/>
                  </a:lnTo>
                  <a:lnTo>
                    <a:pt x="32" y="186"/>
                  </a:lnTo>
                  <a:lnTo>
                    <a:pt x="38" y="186"/>
                  </a:lnTo>
                  <a:lnTo>
                    <a:pt x="40" y="190"/>
                  </a:lnTo>
                  <a:lnTo>
                    <a:pt x="44" y="194"/>
                  </a:lnTo>
                  <a:lnTo>
                    <a:pt x="44" y="198"/>
                  </a:lnTo>
                  <a:lnTo>
                    <a:pt x="44" y="198"/>
                  </a:lnTo>
                  <a:lnTo>
                    <a:pt x="44" y="202"/>
                  </a:lnTo>
                  <a:lnTo>
                    <a:pt x="40" y="206"/>
                  </a:lnTo>
                  <a:lnTo>
                    <a:pt x="38" y="208"/>
                  </a:lnTo>
                  <a:lnTo>
                    <a:pt x="32" y="210"/>
                  </a:lnTo>
                  <a:lnTo>
                    <a:pt x="32" y="210"/>
                  </a:lnTo>
                  <a:close/>
                  <a:moveTo>
                    <a:pt x="32" y="180"/>
                  </a:moveTo>
                  <a:lnTo>
                    <a:pt x="32" y="180"/>
                  </a:lnTo>
                  <a:lnTo>
                    <a:pt x="28" y="180"/>
                  </a:lnTo>
                  <a:lnTo>
                    <a:pt x="24" y="178"/>
                  </a:lnTo>
                  <a:lnTo>
                    <a:pt x="22" y="174"/>
                  </a:lnTo>
                  <a:lnTo>
                    <a:pt x="20" y="168"/>
                  </a:lnTo>
                  <a:lnTo>
                    <a:pt x="20" y="168"/>
                  </a:lnTo>
                  <a:lnTo>
                    <a:pt x="22" y="164"/>
                  </a:lnTo>
                  <a:lnTo>
                    <a:pt x="24" y="160"/>
                  </a:lnTo>
                  <a:lnTo>
                    <a:pt x="28" y="158"/>
                  </a:lnTo>
                  <a:lnTo>
                    <a:pt x="32" y="156"/>
                  </a:lnTo>
                  <a:lnTo>
                    <a:pt x="32" y="156"/>
                  </a:lnTo>
                  <a:lnTo>
                    <a:pt x="38" y="158"/>
                  </a:lnTo>
                  <a:lnTo>
                    <a:pt x="40" y="160"/>
                  </a:lnTo>
                  <a:lnTo>
                    <a:pt x="44" y="164"/>
                  </a:lnTo>
                  <a:lnTo>
                    <a:pt x="44" y="168"/>
                  </a:lnTo>
                  <a:lnTo>
                    <a:pt x="44" y="168"/>
                  </a:lnTo>
                  <a:lnTo>
                    <a:pt x="44" y="174"/>
                  </a:lnTo>
                  <a:lnTo>
                    <a:pt x="40" y="178"/>
                  </a:lnTo>
                  <a:lnTo>
                    <a:pt x="38" y="180"/>
                  </a:lnTo>
                  <a:lnTo>
                    <a:pt x="32" y="180"/>
                  </a:lnTo>
                  <a:lnTo>
                    <a:pt x="32" y="180"/>
                  </a:lnTo>
                  <a:close/>
                  <a:moveTo>
                    <a:pt x="64" y="240"/>
                  </a:moveTo>
                  <a:lnTo>
                    <a:pt x="64" y="240"/>
                  </a:lnTo>
                  <a:lnTo>
                    <a:pt x="60" y="238"/>
                  </a:lnTo>
                  <a:lnTo>
                    <a:pt x="56" y="236"/>
                  </a:lnTo>
                  <a:lnTo>
                    <a:pt x="54" y="232"/>
                  </a:lnTo>
                  <a:lnTo>
                    <a:pt x="52" y="228"/>
                  </a:lnTo>
                  <a:lnTo>
                    <a:pt x="52" y="228"/>
                  </a:lnTo>
                  <a:lnTo>
                    <a:pt x="54" y="222"/>
                  </a:lnTo>
                  <a:lnTo>
                    <a:pt x="56" y="218"/>
                  </a:lnTo>
                  <a:lnTo>
                    <a:pt x="60" y="216"/>
                  </a:lnTo>
                  <a:lnTo>
                    <a:pt x="64" y="216"/>
                  </a:lnTo>
                  <a:lnTo>
                    <a:pt x="64" y="216"/>
                  </a:lnTo>
                  <a:lnTo>
                    <a:pt x="70" y="216"/>
                  </a:lnTo>
                  <a:lnTo>
                    <a:pt x="74" y="218"/>
                  </a:lnTo>
                  <a:lnTo>
                    <a:pt x="76" y="222"/>
                  </a:lnTo>
                  <a:lnTo>
                    <a:pt x="76" y="228"/>
                  </a:lnTo>
                  <a:lnTo>
                    <a:pt x="76" y="228"/>
                  </a:lnTo>
                  <a:lnTo>
                    <a:pt x="76" y="232"/>
                  </a:lnTo>
                  <a:lnTo>
                    <a:pt x="74" y="236"/>
                  </a:lnTo>
                  <a:lnTo>
                    <a:pt x="70" y="238"/>
                  </a:lnTo>
                  <a:lnTo>
                    <a:pt x="64" y="240"/>
                  </a:lnTo>
                  <a:lnTo>
                    <a:pt x="64" y="240"/>
                  </a:lnTo>
                  <a:close/>
                  <a:moveTo>
                    <a:pt x="64" y="210"/>
                  </a:moveTo>
                  <a:lnTo>
                    <a:pt x="64" y="210"/>
                  </a:lnTo>
                  <a:lnTo>
                    <a:pt x="60" y="208"/>
                  </a:lnTo>
                  <a:lnTo>
                    <a:pt x="56" y="206"/>
                  </a:lnTo>
                  <a:lnTo>
                    <a:pt x="54" y="202"/>
                  </a:lnTo>
                  <a:lnTo>
                    <a:pt x="52" y="198"/>
                  </a:lnTo>
                  <a:lnTo>
                    <a:pt x="52" y="198"/>
                  </a:lnTo>
                  <a:lnTo>
                    <a:pt x="54" y="194"/>
                  </a:lnTo>
                  <a:lnTo>
                    <a:pt x="56" y="190"/>
                  </a:lnTo>
                  <a:lnTo>
                    <a:pt x="60" y="186"/>
                  </a:lnTo>
                  <a:lnTo>
                    <a:pt x="64" y="186"/>
                  </a:lnTo>
                  <a:lnTo>
                    <a:pt x="64" y="186"/>
                  </a:lnTo>
                  <a:lnTo>
                    <a:pt x="70" y="186"/>
                  </a:lnTo>
                  <a:lnTo>
                    <a:pt x="74" y="190"/>
                  </a:lnTo>
                  <a:lnTo>
                    <a:pt x="76" y="194"/>
                  </a:lnTo>
                  <a:lnTo>
                    <a:pt x="76" y="198"/>
                  </a:lnTo>
                  <a:lnTo>
                    <a:pt x="76" y="198"/>
                  </a:lnTo>
                  <a:lnTo>
                    <a:pt x="76" y="202"/>
                  </a:lnTo>
                  <a:lnTo>
                    <a:pt x="74" y="206"/>
                  </a:lnTo>
                  <a:lnTo>
                    <a:pt x="70" y="208"/>
                  </a:lnTo>
                  <a:lnTo>
                    <a:pt x="64" y="210"/>
                  </a:lnTo>
                  <a:lnTo>
                    <a:pt x="64" y="210"/>
                  </a:lnTo>
                  <a:close/>
                  <a:moveTo>
                    <a:pt x="64" y="180"/>
                  </a:moveTo>
                  <a:lnTo>
                    <a:pt x="64" y="180"/>
                  </a:lnTo>
                  <a:lnTo>
                    <a:pt x="60" y="180"/>
                  </a:lnTo>
                  <a:lnTo>
                    <a:pt x="56" y="178"/>
                  </a:lnTo>
                  <a:lnTo>
                    <a:pt x="54" y="174"/>
                  </a:lnTo>
                  <a:lnTo>
                    <a:pt x="52" y="168"/>
                  </a:lnTo>
                  <a:lnTo>
                    <a:pt x="52" y="168"/>
                  </a:lnTo>
                  <a:lnTo>
                    <a:pt x="54" y="164"/>
                  </a:lnTo>
                  <a:lnTo>
                    <a:pt x="56" y="160"/>
                  </a:lnTo>
                  <a:lnTo>
                    <a:pt x="60" y="158"/>
                  </a:lnTo>
                  <a:lnTo>
                    <a:pt x="64" y="156"/>
                  </a:lnTo>
                  <a:lnTo>
                    <a:pt x="64" y="156"/>
                  </a:lnTo>
                  <a:lnTo>
                    <a:pt x="70" y="158"/>
                  </a:lnTo>
                  <a:lnTo>
                    <a:pt x="74" y="160"/>
                  </a:lnTo>
                  <a:lnTo>
                    <a:pt x="76" y="164"/>
                  </a:lnTo>
                  <a:lnTo>
                    <a:pt x="76" y="168"/>
                  </a:lnTo>
                  <a:lnTo>
                    <a:pt x="76" y="168"/>
                  </a:lnTo>
                  <a:lnTo>
                    <a:pt x="76" y="174"/>
                  </a:lnTo>
                  <a:lnTo>
                    <a:pt x="74" y="178"/>
                  </a:lnTo>
                  <a:lnTo>
                    <a:pt x="70" y="180"/>
                  </a:lnTo>
                  <a:lnTo>
                    <a:pt x="64" y="180"/>
                  </a:lnTo>
                  <a:lnTo>
                    <a:pt x="64" y="180"/>
                  </a:lnTo>
                  <a:close/>
                  <a:moveTo>
                    <a:pt x="96" y="240"/>
                  </a:moveTo>
                  <a:lnTo>
                    <a:pt x="96" y="240"/>
                  </a:lnTo>
                  <a:lnTo>
                    <a:pt x="92" y="238"/>
                  </a:lnTo>
                  <a:lnTo>
                    <a:pt x="88" y="236"/>
                  </a:lnTo>
                  <a:lnTo>
                    <a:pt x="86" y="232"/>
                  </a:lnTo>
                  <a:lnTo>
                    <a:pt x="84" y="228"/>
                  </a:lnTo>
                  <a:lnTo>
                    <a:pt x="84" y="228"/>
                  </a:lnTo>
                  <a:lnTo>
                    <a:pt x="86" y="222"/>
                  </a:lnTo>
                  <a:lnTo>
                    <a:pt x="88" y="218"/>
                  </a:lnTo>
                  <a:lnTo>
                    <a:pt x="92" y="216"/>
                  </a:lnTo>
                  <a:lnTo>
                    <a:pt x="96" y="216"/>
                  </a:lnTo>
                  <a:lnTo>
                    <a:pt x="96" y="216"/>
                  </a:lnTo>
                  <a:lnTo>
                    <a:pt x="102" y="216"/>
                  </a:lnTo>
                  <a:lnTo>
                    <a:pt x="106" y="218"/>
                  </a:lnTo>
                  <a:lnTo>
                    <a:pt x="108" y="222"/>
                  </a:lnTo>
                  <a:lnTo>
                    <a:pt x="108" y="228"/>
                  </a:lnTo>
                  <a:lnTo>
                    <a:pt x="108" y="228"/>
                  </a:lnTo>
                  <a:lnTo>
                    <a:pt x="108" y="232"/>
                  </a:lnTo>
                  <a:lnTo>
                    <a:pt x="106" y="236"/>
                  </a:lnTo>
                  <a:lnTo>
                    <a:pt x="102" y="238"/>
                  </a:lnTo>
                  <a:lnTo>
                    <a:pt x="96" y="240"/>
                  </a:lnTo>
                  <a:lnTo>
                    <a:pt x="96" y="240"/>
                  </a:lnTo>
                  <a:close/>
                  <a:moveTo>
                    <a:pt x="96" y="210"/>
                  </a:moveTo>
                  <a:lnTo>
                    <a:pt x="96" y="210"/>
                  </a:lnTo>
                  <a:lnTo>
                    <a:pt x="92" y="208"/>
                  </a:lnTo>
                  <a:lnTo>
                    <a:pt x="88" y="206"/>
                  </a:lnTo>
                  <a:lnTo>
                    <a:pt x="86" y="202"/>
                  </a:lnTo>
                  <a:lnTo>
                    <a:pt x="84" y="198"/>
                  </a:lnTo>
                  <a:lnTo>
                    <a:pt x="84" y="198"/>
                  </a:lnTo>
                  <a:lnTo>
                    <a:pt x="86" y="194"/>
                  </a:lnTo>
                  <a:lnTo>
                    <a:pt x="88" y="190"/>
                  </a:lnTo>
                  <a:lnTo>
                    <a:pt x="92" y="186"/>
                  </a:lnTo>
                  <a:lnTo>
                    <a:pt x="96" y="186"/>
                  </a:lnTo>
                  <a:lnTo>
                    <a:pt x="96" y="186"/>
                  </a:lnTo>
                  <a:lnTo>
                    <a:pt x="102" y="186"/>
                  </a:lnTo>
                  <a:lnTo>
                    <a:pt x="106" y="190"/>
                  </a:lnTo>
                  <a:lnTo>
                    <a:pt x="108" y="194"/>
                  </a:lnTo>
                  <a:lnTo>
                    <a:pt x="108" y="198"/>
                  </a:lnTo>
                  <a:lnTo>
                    <a:pt x="108" y="198"/>
                  </a:lnTo>
                  <a:lnTo>
                    <a:pt x="108" y="202"/>
                  </a:lnTo>
                  <a:lnTo>
                    <a:pt x="106" y="206"/>
                  </a:lnTo>
                  <a:lnTo>
                    <a:pt x="102" y="208"/>
                  </a:lnTo>
                  <a:lnTo>
                    <a:pt x="96" y="210"/>
                  </a:lnTo>
                  <a:lnTo>
                    <a:pt x="96" y="210"/>
                  </a:lnTo>
                  <a:close/>
                  <a:moveTo>
                    <a:pt x="96" y="180"/>
                  </a:moveTo>
                  <a:lnTo>
                    <a:pt x="96" y="180"/>
                  </a:lnTo>
                  <a:lnTo>
                    <a:pt x="92" y="180"/>
                  </a:lnTo>
                  <a:lnTo>
                    <a:pt x="88" y="178"/>
                  </a:lnTo>
                  <a:lnTo>
                    <a:pt x="86" y="174"/>
                  </a:lnTo>
                  <a:lnTo>
                    <a:pt x="84" y="168"/>
                  </a:lnTo>
                  <a:lnTo>
                    <a:pt x="84" y="168"/>
                  </a:lnTo>
                  <a:lnTo>
                    <a:pt x="86" y="164"/>
                  </a:lnTo>
                  <a:lnTo>
                    <a:pt x="88" y="160"/>
                  </a:lnTo>
                  <a:lnTo>
                    <a:pt x="92" y="158"/>
                  </a:lnTo>
                  <a:lnTo>
                    <a:pt x="96" y="156"/>
                  </a:lnTo>
                  <a:lnTo>
                    <a:pt x="96" y="156"/>
                  </a:lnTo>
                  <a:lnTo>
                    <a:pt x="102" y="158"/>
                  </a:lnTo>
                  <a:lnTo>
                    <a:pt x="106" y="160"/>
                  </a:lnTo>
                  <a:lnTo>
                    <a:pt x="108" y="164"/>
                  </a:lnTo>
                  <a:lnTo>
                    <a:pt x="108" y="168"/>
                  </a:lnTo>
                  <a:lnTo>
                    <a:pt x="108" y="168"/>
                  </a:lnTo>
                  <a:lnTo>
                    <a:pt x="108" y="174"/>
                  </a:lnTo>
                  <a:lnTo>
                    <a:pt x="106" y="178"/>
                  </a:lnTo>
                  <a:lnTo>
                    <a:pt x="102" y="180"/>
                  </a:lnTo>
                  <a:lnTo>
                    <a:pt x="96" y="180"/>
                  </a:lnTo>
                  <a:lnTo>
                    <a:pt x="96" y="180"/>
                  </a:lnTo>
                  <a:close/>
                  <a:moveTo>
                    <a:pt x="110" y="110"/>
                  </a:moveTo>
                  <a:lnTo>
                    <a:pt x="110" y="110"/>
                  </a:lnTo>
                  <a:lnTo>
                    <a:pt x="108" y="122"/>
                  </a:lnTo>
                  <a:lnTo>
                    <a:pt x="102" y="130"/>
                  </a:lnTo>
                  <a:lnTo>
                    <a:pt x="94" y="136"/>
                  </a:lnTo>
                  <a:lnTo>
                    <a:pt x="84" y="138"/>
                  </a:lnTo>
                  <a:lnTo>
                    <a:pt x="46" y="138"/>
                  </a:lnTo>
                  <a:lnTo>
                    <a:pt x="46" y="138"/>
                  </a:lnTo>
                  <a:lnTo>
                    <a:pt x="36" y="136"/>
                  </a:lnTo>
                  <a:lnTo>
                    <a:pt x="26" y="130"/>
                  </a:lnTo>
                  <a:lnTo>
                    <a:pt x="20" y="122"/>
                  </a:lnTo>
                  <a:lnTo>
                    <a:pt x="18" y="110"/>
                  </a:lnTo>
                  <a:lnTo>
                    <a:pt x="18" y="84"/>
                  </a:lnTo>
                  <a:lnTo>
                    <a:pt x="18" y="84"/>
                  </a:lnTo>
                  <a:lnTo>
                    <a:pt x="20" y="72"/>
                  </a:lnTo>
                  <a:lnTo>
                    <a:pt x="26" y="64"/>
                  </a:lnTo>
                  <a:lnTo>
                    <a:pt x="36" y="58"/>
                  </a:lnTo>
                  <a:lnTo>
                    <a:pt x="46" y="56"/>
                  </a:lnTo>
                  <a:lnTo>
                    <a:pt x="84" y="56"/>
                  </a:lnTo>
                  <a:lnTo>
                    <a:pt x="84" y="56"/>
                  </a:lnTo>
                  <a:lnTo>
                    <a:pt x="94" y="58"/>
                  </a:lnTo>
                  <a:lnTo>
                    <a:pt x="102" y="64"/>
                  </a:lnTo>
                  <a:lnTo>
                    <a:pt x="108" y="72"/>
                  </a:lnTo>
                  <a:lnTo>
                    <a:pt x="110" y="84"/>
                  </a:lnTo>
                  <a:lnTo>
                    <a:pt x="110" y="110"/>
                  </a:lnTo>
                  <a:close/>
                </a:path>
              </a:pathLst>
            </a:custGeom>
            <a:solidFill>
              <a:sysClr val="windowText" lastClr="000000">
                <a:lumMod val="75000"/>
                <a:lumOff val="25000"/>
              </a:sysClr>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sp>
          <p:nvSpPr>
            <p:cNvPr id="88" name="Freeform 82"/>
            <p:cNvSpPr>
              <a:spLocks noEditPoints="1"/>
            </p:cNvSpPr>
            <p:nvPr/>
          </p:nvSpPr>
          <p:spPr bwMode="auto">
            <a:xfrm>
              <a:off x="3066485" y="1546243"/>
              <a:ext cx="81247" cy="171676"/>
            </a:xfrm>
            <a:custGeom>
              <a:avLst/>
              <a:gdLst/>
              <a:ahLst/>
              <a:cxnLst>
                <a:cxn ang="0">
                  <a:pos x="26" y="38"/>
                </a:cxn>
                <a:cxn ang="0">
                  <a:pos x="0" y="228"/>
                </a:cxn>
                <a:cxn ang="0">
                  <a:pos x="28" y="254"/>
                </a:cxn>
                <a:cxn ang="0">
                  <a:pos x="128" y="238"/>
                </a:cxn>
                <a:cxn ang="0">
                  <a:pos x="126" y="54"/>
                </a:cxn>
                <a:cxn ang="0">
                  <a:pos x="114" y="4"/>
                </a:cxn>
                <a:cxn ang="0">
                  <a:pos x="96" y="4"/>
                </a:cxn>
                <a:cxn ang="0">
                  <a:pos x="74" y="20"/>
                </a:cxn>
                <a:cxn ang="0">
                  <a:pos x="24" y="236"/>
                </a:cxn>
                <a:cxn ang="0">
                  <a:pos x="24" y="218"/>
                </a:cxn>
                <a:cxn ang="0">
                  <a:pos x="40" y="218"/>
                </a:cxn>
                <a:cxn ang="0">
                  <a:pos x="40" y="236"/>
                </a:cxn>
                <a:cxn ang="0">
                  <a:pos x="32" y="210"/>
                </a:cxn>
                <a:cxn ang="0">
                  <a:pos x="20" y="198"/>
                </a:cxn>
                <a:cxn ang="0">
                  <a:pos x="32" y="186"/>
                </a:cxn>
                <a:cxn ang="0">
                  <a:pos x="44" y="198"/>
                </a:cxn>
                <a:cxn ang="0">
                  <a:pos x="32" y="210"/>
                </a:cxn>
                <a:cxn ang="0">
                  <a:pos x="22" y="174"/>
                </a:cxn>
                <a:cxn ang="0">
                  <a:pos x="28" y="158"/>
                </a:cxn>
                <a:cxn ang="0">
                  <a:pos x="44" y="164"/>
                </a:cxn>
                <a:cxn ang="0">
                  <a:pos x="38" y="180"/>
                </a:cxn>
                <a:cxn ang="0">
                  <a:pos x="60" y="238"/>
                </a:cxn>
                <a:cxn ang="0">
                  <a:pos x="54" y="222"/>
                </a:cxn>
                <a:cxn ang="0">
                  <a:pos x="70" y="216"/>
                </a:cxn>
                <a:cxn ang="0">
                  <a:pos x="76" y="232"/>
                </a:cxn>
                <a:cxn ang="0">
                  <a:pos x="64" y="210"/>
                </a:cxn>
                <a:cxn ang="0">
                  <a:pos x="52" y="198"/>
                </a:cxn>
                <a:cxn ang="0">
                  <a:pos x="64" y="186"/>
                </a:cxn>
                <a:cxn ang="0">
                  <a:pos x="76" y="198"/>
                </a:cxn>
                <a:cxn ang="0">
                  <a:pos x="64" y="210"/>
                </a:cxn>
                <a:cxn ang="0">
                  <a:pos x="56" y="178"/>
                </a:cxn>
                <a:cxn ang="0">
                  <a:pos x="56" y="160"/>
                </a:cxn>
                <a:cxn ang="0">
                  <a:pos x="74" y="160"/>
                </a:cxn>
                <a:cxn ang="0">
                  <a:pos x="74" y="178"/>
                </a:cxn>
                <a:cxn ang="0">
                  <a:pos x="96" y="240"/>
                </a:cxn>
                <a:cxn ang="0">
                  <a:pos x="84" y="228"/>
                </a:cxn>
                <a:cxn ang="0">
                  <a:pos x="96" y="216"/>
                </a:cxn>
                <a:cxn ang="0">
                  <a:pos x="108" y="228"/>
                </a:cxn>
                <a:cxn ang="0">
                  <a:pos x="96" y="240"/>
                </a:cxn>
                <a:cxn ang="0">
                  <a:pos x="86" y="202"/>
                </a:cxn>
                <a:cxn ang="0">
                  <a:pos x="92" y="186"/>
                </a:cxn>
                <a:cxn ang="0">
                  <a:pos x="108" y="194"/>
                </a:cxn>
                <a:cxn ang="0">
                  <a:pos x="102" y="208"/>
                </a:cxn>
                <a:cxn ang="0">
                  <a:pos x="92" y="180"/>
                </a:cxn>
                <a:cxn ang="0">
                  <a:pos x="86" y="164"/>
                </a:cxn>
                <a:cxn ang="0">
                  <a:pos x="102" y="158"/>
                </a:cxn>
                <a:cxn ang="0">
                  <a:pos x="108" y="174"/>
                </a:cxn>
                <a:cxn ang="0">
                  <a:pos x="110" y="110"/>
                </a:cxn>
                <a:cxn ang="0">
                  <a:pos x="84" y="138"/>
                </a:cxn>
                <a:cxn ang="0">
                  <a:pos x="20" y="122"/>
                </a:cxn>
                <a:cxn ang="0">
                  <a:pos x="26" y="64"/>
                </a:cxn>
                <a:cxn ang="0">
                  <a:pos x="94" y="58"/>
                </a:cxn>
              </a:cxnLst>
              <a:rect l="0" t="0" r="r" b="b"/>
              <a:pathLst>
                <a:path w="130" h="254">
                  <a:moveTo>
                    <a:pt x="64" y="18"/>
                  </a:moveTo>
                  <a:lnTo>
                    <a:pt x="64" y="18"/>
                  </a:lnTo>
                  <a:lnTo>
                    <a:pt x="56" y="20"/>
                  </a:lnTo>
                  <a:lnTo>
                    <a:pt x="48" y="24"/>
                  </a:lnTo>
                  <a:lnTo>
                    <a:pt x="26" y="38"/>
                  </a:lnTo>
                  <a:lnTo>
                    <a:pt x="16" y="46"/>
                  </a:lnTo>
                  <a:lnTo>
                    <a:pt x="8" y="54"/>
                  </a:lnTo>
                  <a:lnTo>
                    <a:pt x="2" y="62"/>
                  </a:lnTo>
                  <a:lnTo>
                    <a:pt x="0" y="68"/>
                  </a:lnTo>
                  <a:lnTo>
                    <a:pt x="0" y="228"/>
                  </a:lnTo>
                  <a:lnTo>
                    <a:pt x="0" y="228"/>
                  </a:lnTo>
                  <a:lnTo>
                    <a:pt x="2" y="238"/>
                  </a:lnTo>
                  <a:lnTo>
                    <a:pt x="8" y="246"/>
                  </a:lnTo>
                  <a:lnTo>
                    <a:pt x="16" y="252"/>
                  </a:lnTo>
                  <a:lnTo>
                    <a:pt x="28" y="254"/>
                  </a:lnTo>
                  <a:lnTo>
                    <a:pt x="102" y="254"/>
                  </a:lnTo>
                  <a:lnTo>
                    <a:pt x="102" y="254"/>
                  </a:lnTo>
                  <a:lnTo>
                    <a:pt x="112" y="252"/>
                  </a:lnTo>
                  <a:lnTo>
                    <a:pt x="122" y="246"/>
                  </a:lnTo>
                  <a:lnTo>
                    <a:pt x="128" y="238"/>
                  </a:lnTo>
                  <a:lnTo>
                    <a:pt x="130" y="228"/>
                  </a:lnTo>
                  <a:lnTo>
                    <a:pt x="130" y="68"/>
                  </a:lnTo>
                  <a:lnTo>
                    <a:pt x="130" y="68"/>
                  </a:lnTo>
                  <a:lnTo>
                    <a:pt x="128" y="60"/>
                  </a:lnTo>
                  <a:lnTo>
                    <a:pt x="126" y="54"/>
                  </a:lnTo>
                  <a:lnTo>
                    <a:pt x="120" y="48"/>
                  </a:lnTo>
                  <a:lnTo>
                    <a:pt x="116" y="44"/>
                  </a:lnTo>
                  <a:lnTo>
                    <a:pt x="116" y="8"/>
                  </a:lnTo>
                  <a:lnTo>
                    <a:pt x="116" y="8"/>
                  </a:lnTo>
                  <a:lnTo>
                    <a:pt x="114" y="4"/>
                  </a:lnTo>
                  <a:lnTo>
                    <a:pt x="112" y="2"/>
                  </a:lnTo>
                  <a:lnTo>
                    <a:pt x="106" y="0"/>
                  </a:lnTo>
                  <a:lnTo>
                    <a:pt x="106" y="0"/>
                  </a:lnTo>
                  <a:lnTo>
                    <a:pt x="98" y="2"/>
                  </a:lnTo>
                  <a:lnTo>
                    <a:pt x="96" y="4"/>
                  </a:lnTo>
                  <a:lnTo>
                    <a:pt x="96" y="8"/>
                  </a:lnTo>
                  <a:lnTo>
                    <a:pt x="96" y="34"/>
                  </a:lnTo>
                  <a:lnTo>
                    <a:pt x="96" y="34"/>
                  </a:lnTo>
                  <a:lnTo>
                    <a:pt x="86" y="26"/>
                  </a:lnTo>
                  <a:lnTo>
                    <a:pt x="74" y="20"/>
                  </a:lnTo>
                  <a:lnTo>
                    <a:pt x="64" y="18"/>
                  </a:lnTo>
                  <a:close/>
                  <a:moveTo>
                    <a:pt x="32" y="240"/>
                  </a:moveTo>
                  <a:lnTo>
                    <a:pt x="32" y="240"/>
                  </a:lnTo>
                  <a:lnTo>
                    <a:pt x="28" y="238"/>
                  </a:lnTo>
                  <a:lnTo>
                    <a:pt x="24" y="236"/>
                  </a:lnTo>
                  <a:lnTo>
                    <a:pt x="22" y="232"/>
                  </a:lnTo>
                  <a:lnTo>
                    <a:pt x="20" y="228"/>
                  </a:lnTo>
                  <a:lnTo>
                    <a:pt x="20" y="228"/>
                  </a:lnTo>
                  <a:lnTo>
                    <a:pt x="22" y="222"/>
                  </a:lnTo>
                  <a:lnTo>
                    <a:pt x="24" y="218"/>
                  </a:lnTo>
                  <a:lnTo>
                    <a:pt x="28" y="216"/>
                  </a:lnTo>
                  <a:lnTo>
                    <a:pt x="32" y="216"/>
                  </a:lnTo>
                  <a:lnTo>
                    <a:pt x="32" y="216"/>
                  </a:lnTo>
                  <a:lnTo>
                    <a:pt x="38" y="216"/>
                  </a:lnTo>
                  <a:lnTo>
                    <a:pt x="40" y="218"/>
                  </a:lnTo>
                  <a:lnTo>
                    <a:pt x="44" y="222"/>
                  </a:lnTo>
                  <a:lnTo>
                    <a:pt x="44" y="228"/>
                  </a:lnTo>
                  <a:lnTo>
                    <a:pt x="44" y="228"/>
                  </a:lnTo>
                  <a:lnTo>
                    <a:pt x="44" y="232"/>
                  </a:lnTo>
                  <a:lnTo>
                    <a:pt x="40" y="236"/>
                  </a:lnTo>
                  <a:lnTo>
                    <a:pt x="38" y="238"/>
                  </a:lnTo>
                  <a:lnTo>
                    <a:pt x="32" y="240"/>
                  </a:lnTo>
                  <a:lnTo>
                    <a:pt x="32" y="240"/>
                  </a:lnTo>
                  <a:close/>
                  <a:moveTo>
                    <a:pt x="32" y="210"/>
                  </a:moveTo>
                  <a:lnTo>
                    <a:pt x="32" y="210"/>
                  </a:lnTo>
                  <a:lnTo>
                    <a:pt x="28" y="208"/>
                  </a:lnTo>
                  <a:lnTo>
                    <a:pt x="24" y="206"/>
                  </a:lnTo>
                  <a:lnTo>
                    <a:pt x="22" y="202"/>
                  </a:lnTo>
                  <a:lnTo>
                    <a:pt x="20" y="198"/>
                  </a:lnTo>
                  <a:lnTo>
                    <a:pt x="20" y="198"/>
                  </a:lnTo>
                  <a:lnTo>
                    <a:pt x="22" y="194"/>
                  </a:lnTo>
                  <a:lnTo>
                    <a:pt x="24" y="190"/>
                  </a:lnTo>
                  <a:lnTo>
                    <a:pt x="28" y="186"/>
                  </a:lnTo>
                  <a:lnTo>
                    <a:pt x="32" y="186"/>
                  </a:lnTo>
                  <a:lnTo>
                    <a:pt x="32" y="186"/>
                  </a:lnTo>
                  <a:lnTo>
                    <a:pt x="38" y="186"/>
                  </a:lnTo>
                  <a:lnTo>
                    <a:pt x="40" y="190"/>
                  </a:lnTo>
                  <a:lnTo>
                    <a:pt x="44" y="194"/>
                  </a:lnTo>
                  <a:lnTo>
                    <a:pt x="44" y="198"/>
                  </a:lnTo>
                  <a:lnTo>
                    <a:pt x="44" y="198"/>
                  </a:lnTo>
                  <a:lnTo>
                    <a:pt x="44" y="202"/>
                  </a:lnTo>
                  <a:lnTo>
                    <a:pt x="40" y="206"/>
                  </a:lnTo>
                  <a:lnTo>
                    <a:pt x="38" y="208"/>
                  </a:lnTo>
                  <a:lnTo>
                    <a:pt x="32" y="210"/>
                  </a:lnTo>
                  <a:lnTo>
                    <a:pt x="32" y="210"/>
                  </a:lnTo>
                  <a:close/>
                  <a:moveTo>
                    <a:pt x="32" y="180"/>
                  </a:moveTo>
                  <a:lnTo>
                    <a:pt x="32" y="180"/>
                  </a:lnTo>
                  <a:lnTo>
                    <a:pt x="28" y="180"/>
                  </a:lnTo>
                  <a:lnTo>
                    <a:pt x="24" y="178"/>
                  </a:lnTo>
                  <a:lnTo>
                    <a:pt x="22" y="174"/>
                  </a:lnTo>
                  <a:lnTo>
                    <a:pt x="20" y="168"/>
                  </a:lnTo>
                  <a:lnTo>
                    <a:pt x="20" y="168"/>
                  </a:lnTo>
                  <a:lnTo>
                    <a:pt x="22" y="164"/>
                  </a:lnTo>
                  <a:lnTo>
                    <a:pt x="24" y="160"/>
                  </a:lnTo>
                  <a:lnTo>
                    <a:pt x="28" y="158"/>
                  </a:lnTo>
                  <a:lnTo>
                    <a:pt x="32" y="156"/>
                  </a:lnTo>
                  <a:lnTo>
                    <a:pt x="32" y="156"/>
                  </a:lnTo>
                  <a:lnTo>
                    <a:pt x="38" y="158"/>
                  </a:lnTo>
                  <a:lnTo>
                    <a:pt x="40" y="160"/>
                  </a:lnTo>
                  <a:lnTo>
                    <a:pt x="44" y="164"/>
                  </a:lnTo>
                  <a:lnTo>
                    <a:pt x="44" y="168"/>
                  </a:lnTo>
                  <a:lnTo>
                    <a:pt x="44" y="168"/>
                  </a:lnTo>
                  <a:lnTo>
                    <a:pt x="44" y="174"/>
                  </a:lnTo>
                  <a:lnTo>
                    <a:pt x="40" y="178"/>
                  </a:lnTo>
                  <a:lnTo>
                    <a:pt x="38" y="180"/>
                  </a:lnTo>
                  <a:lnTo>
                    <a:pt x="32" y="180"/>
                  </a:lnTo>
                  <a:lnTo>
                    <a:pt x="32" y="180"/>
                  </a:lnTo>
                  <a:close/>
                  <a:moveTo>
                    <a:pt x="64" y="240"/>
                  </a:moveTo>
                  <a:lnTo>
                    <a:pt x="64" y="240"/>
                  </a:lnTo>
                  <a:lnTo>
                    <a:pt x="60" y="238"/>
                  </a:lnTo>
                  <a:lnTo>
                    <a:pt x="56" y="236"/>
                  </a:lnTo>
                  <a:lnTo>
                    <a:pt x="54" y="232"/>
                  </a:lnTo>
                  <a:lnTo>
                    <a:pt x="52" y="228"/>
                  </a:lnTo>
                  <a:lnTo>
                    <a:pt x="52" y="228"/>
                  </a:lnTo>
                  <a:lnTo>
                    <a:pt x="54" y="222"/>
                  </a:lnTo>
                  <a:lnTo>
                    <a:pt x="56" y="218"/>
                  </a:lnTo>
                  <a:lnTo>
                    <a:pt x="60" y="216"/>
                  </a:lnTo>
                  <a:lnTo>
                    <a:pt x="64" y="216"/>
                  </a:lnTo>
                  <a:lnTo>
                    <a:pt x="64" y="216"/>
                  </a:lnTo>
                  <a:lnTo>
                    <a:pt x="70" y="216"/>
                  </a:lnTo>
                  <a:lnTo>
                    <a:pt x="74" y="218"/>
                  </a:lnTo>
                  <a:lnTo>
                    <a:pt x="76" y="222"/>
                  </a:lnTo>
                  <a:lnTo>
                    <a:pt x="76" y="228"/>
                  </a:lnTo>
                  <a:lnTo>
                    <a:pt x="76" y="228"/>
                  </a:lnTo>
                  <a:lnTo>
                    <a:pt x="76" y="232"/>
                  </a:lnTo>
                  <a:lnTo>
                    <a:pt x="74" y="236"/>
                  </a:lnTo>
                  <a:lnTo>
                    <a:pt x="70" y="238"/>
                  </a:lnTo>
                  <a:lnTo>
                    <a:pt x="64" y="240"/>
                  </a:lnTo>
                  <a:lnTo>
                    <a:pt x="64" y="240"/>
                  </a:lnTo>
                  <a:close/>
                  <a:moveTo>
                    <a:pt x="64" y="210"/>
                  </a:moveTo>
                  <a:lnTo>
                    <a:pt x="64" y="210"/>
                  </a:lnTo>
                  <a:lnTo>
                    <a:pt x="60" y="208"/>
                  </a:lnTo>
                  <a:lnTo>
                    <a:pt x="56" y="206"/>
                  </a:lnTo>
                  <a:lnTo>
                    <a:pt x="54" y="202"/>
                  </a:lnTo>
                  <a:lnTo>
                    <a:pt x="52" y="198"/>
                  </a:lnTo>
                  <a:lnTo>
                    <a:pt x="52" y="198"/>
                  </a:lnTo>
                  <a:lnTo>
                    <a:pt x="54" y="194"/>
                  </a:lnTo>
                  <a:lnTo>
                    <a:pt x="56" y="190"/>
                  </a:lnTo>
                  <a:lnTo>
                    <a:pt x="60" y="186"/>
                  </a:lnTo>
                  <a:lnTo>
                    <a:pt x="64" y="186"/>
                  </a:lnTo>
                  <a:lnTo>
                    <a:pt x="64" y="186"/>
                  </a:lnTo>
                  <a:lnTo>
                    <a:pt x="70" y="186"/>
                  </a:lnTo>
                  <a:lnTo>
                    <a:pt x="74" y="190"/>
                  </a:lnTo>
                  <a:lnTo>
                    <a:pt x="76" y="194"/>
                  </a:lnTo>
                  <a:lnTo>
                    <a:pt x="76" y="198"/>
                  </a:lnTo>
                  <a:lnTo>
                    <a:pt x="76" y="198"/>
                  </a:lnTo>
                  <a:lnTo>
                    <a:pt x="76" y="202"/>
                  </a:lnTo>
                  <a:lnTo>
                    <a:pt x="74" y="206"/>
                  </a:lnTo>
                  <a:lnTo>
                    <a:pt x="70" y="208"/>
                  </a:lnTo>
                  <a:lnTo>
                    <a:pt x="64" y="210"/>
                  </a:lnTo>
                  <a:lnTo>
                    <a:pt x="64" y="210"/>
                  </a:lnTo>
                  <a:close/>
                  <a:moveTo>
                    <a:pt x="64" y="180"/>
                  </a:moveTo>
                  <a:lnTo>
                    <a:pt x="64" y="180"/>
                  </a:lnTo>
                  <a:lnTo>
                    <a:pt x="60" y="180"/>
                  </a:lnTo>
                  <a:lnTo>
                    <a:pt x="56" y="178"/>
                  </a:lnTo>
                  <a:lnTo>
                    <a:pt x="54" y="174"/>
                  </a:lnTo>
                  <a:lnTo>
                    <a:pt x="52" y="168"/>
                  </a:lnTo>
                  <a:lnTo>
                    <a:pt x="52" y="168"/>
                  </a:lnTo>
                  <a:lnTo>
                    <a:pt x="54" y="164"/>
                  </a:lnTo>
                  <a:lnTo>
                    <a:pt x="56" y="160"/>
                  </a:lnTo>
                  <a:lnTo>
                    <a:pt x="60" y="158"/>
                  </a:lnTo>
                  <a:lnTo>
                    <a:pt x="64" y="156"/>
                  </a:lnTo>
                  <a:lnTo>
                    <a:pt x="64" y="156"/>
                  </a:lnTo>
                  <a:lnTo>
                    <a:pt x="70" y="158"/>
                  </a:lnTo>
                  <a:lnTo>
                    <a:pt x="74" y="160"/>
                  </a:lnTo>
                  <a:lnTo>
                    <a:pt x="76" y="164"/>
                  </a:lnTo>
                  <a:lnTo>
                    <a:pt x="76" y="168"/>
                  </a:lnTo>
                  <a:lnTo>
                    <a:pt x="76" y="168"/>
                  </a:lnTo>
                  <a:lnTo>
                    <a:pt x="76" y="174"/>
                  </a:lnTo>
                  <a:lnTo>
                    <a:pt x="74" y="178"/>
                  </a:lnTo>
                  <a:lnTo>
                    <a:pt x="70" y="180"/>
                  </a:lnTo>
                  <a:lnTo>
                    <a:pt x="64" y="180"/>
                  </a:lnTo>
                  <a:lnTo>
                    <a:pt x="64" y="180"/>
                  </a:lnTo>
                  <a:close/>
                  <a:moveTo>
                    <a:pt x="96" y="240"/>
                  </a:moveTo>
                  <a:lnTo>
                    <a:pt x="96" y="240"/>
                  </a:lnTo>
                  <a:lnTo>
                    <a:pt x="92" y="238"/>
                  </a:lnTo>
                  <a:lnTo>
                    <a:pt x="88" y="236"/>
                  </a:lnTo>
                  <a:lnTo>
                    <a:pt x="86" y="232"/>
                  </a:lnTo>
                  <a:lnTo>
                    <a:pt x="84" y="228"/>
                  </a:lnTo>
                  <a:lnTo>
                    <a:pt x="84" y="228"/>
                  </a:lnTo>
                  <a:lnTo>
                    <a:pt x="86" y="222"/>
                  </a:lnTo>
                  <a:lnTo>
                    <a:pt x="88" y="218"/>
                  </a:lnTo>
                  <a:lnTo>
                    <a:pt x="92" y="216"/>
                  </a:lnTo>
                  <a:lnTo>
                    <a:pt x="96" y="216"/>
                  </a:lnTo>
                  <a:lnTo>
                    <a:pt x="96" y="216"/>
                  </a:lnTo>
                  <a:lnTo>
                    <a:pt x="102" y="216"/>
                  </a:lnTo>
                  <a:lnTo>
                    <a:pt x="106" y="218"/>
                  </a:lnTo>
                  <a:lnTo>
                    <a:pt x="108" y="222"/>
                  </a:lnTo>
                  <a:lnTo>
                    <a:pt x="108" y="228"/>
                  </a:lnTo>
                  <a:lnTo>
                    <a:pt x="108" y="228"/>
                  </a:lnTo>
                  <a:lnTo>
                    <a:pt x="108" y="232"/>
                  </a:lnTo>
                  <a:lnTo>
                    <a:pt x="106" y="236"/>
                  </a:lnTo>
                  <a:lnTo>
                    <a:pt x="102" y="238"/>
                  </a:lnTo>
                  <a:lnTo>
                    <a:pt x="96" y="240"/>
                  </a:lnTo>
                  <a:lnTo>
                    <a:pt x="96" y="240"/>
                  </a:lnTo>
                  <a:close/>
                  <a:moveTo>
                    <a:pt x="96" y="210"/>
                  </a:moveTo>
                  <a:lnTo>
                    <a:pt x="96" y="210"/>
                  </a:lnTo>
                  <a:lnTo>
                    <a:pt x="92" y="208"/>
                  </a:lnTo>
                  <a:lnTo>
                    <a:pt x="88" y="206"/>
                  </a:lnTo>
                  <a:lnTo>
                    <a:pt x="86" y="202"/>
                  </a:lnTo>
                  <a:lnTo>
                    <a:pt x="84" y="198"/>
                  </a:lnTo>
                  <a:lnTo>
                    <a:pt x="84" y="198"/>
                  </a:lnTo>
                  <a:lnTo>
                    <a:pt x="86" y="194"/>
                  </a:lnTo>
                  <a:lnTo>
                    <a:pt x="88" y="190"/>
                  </a:lnTo>
                  <a:lnTo>
                    <a:pt x="92" y="186"/>
                  </a:lnTo>
                  <a:lnTo>
                    <a:pt x="96" y="186"/>
                  </a:lnTo>
                  <a:lnTo>
                    <a:pt x="96" y="186"/>
                  </a:lnTo>
                  <a:lnTo>
                    <a:pt x="102" y="186"/>
                  </a:lnTo>
                  <a:lnTo>
                    <a:pt x="106" y="190"/>
                  </a:lnTo>
                  <a:lnTo>
                    <a:pt x="108" y="194"/>
                  </a:lnTo>
                  <a:lnTo>
                    <a:pt x="108" y="198"/>
                  </a:lnTo>
                  <a:lnTo>
                    <a:pt x="108" y="198"/>
                  </a:lnTo>
                  <a:lnTo>
                    <a:pt x="108" y="202"/>
                  </a:lnTo>
                  <a:lnTo>
                    <a:pt x="106" y="206"/>
                  </a:lnTo>
                  <a:lnTo>
                    <a:pt x="102" y="208"/>
                  </a:lnTo>
                  <a:lnTo>
                    <a:pt x="96" y="210"/>
                  </a:lnTo>
                  <a:lnTo>
                    <a:pt x="96" y="210"/>
                  </a:lnTo>
                  <a:close/>
                  <a:moveTo>
                    <a:pt x="96" y="180"/>
                  </a:moveTo>
                  <a:lnTo>
                    <a:pt x="96" y="180"/>
                  </a:lnTo>
                  <a:lnTo>
                    <a:pt x="92" y="180"/>
                  </a:lnTo>
                  <a:lnTo>
                    <a:pt x="88" y="178"/>
                  </a:lnTo>
                  <a:lnTo>
                    <a:pt x="86" y="174"/>
                  </a:lnTo>
                  <a:lnTo>
                    <a:pt x="84" y="168"/>
                  </a:lnTo>
                  <a:lnTo>
                    <a:pt x="84" y="168"/>
                  </a:lnTo>
                  <a:lnTo>
                    <a:pt x="86" y="164"/>
                  </a:lnTo>
                  <a:lnTo>
                    <a:pt x="88" y="160"/>
                  </a:lnTo>
                  <a:lnTo>
                    <a:pt x="92" y="158"/>
                  </a:lnTo>
                  <a:lnTo>
                    <a:pt x="96" y="156"/>
                  </a:lnTo>
                  <a:lnTo>
                    <a:pt x="96" y="156"/>
                  </a:lnTo>
                  <a:lnTo>
                    <a:pt x="102" y="158"/>
                  </a:lnTo>
                  <a:lnTo>
                    <a:pt x="106" y="160"/>
                  </a:lnTo>
                  <a:lnTo>
                    <a:pt x="108" y="164"/>
                  </a:lnTo>
                  <a:lnTo>
                    <a:pt x="108" y="168"/>
                  </a:lnTo>
                  <a:lnTo>
                    <a:pt x="108" y="168"/>
                  </a:lnTo>
                  <a:lnTo>
                    <a:pt x="108" y="174"/>
                  </a:lnTo>
                  <a:lnTo>
                    <a:pt x="106" y="178"/>
                  </a:lnTo>
                  <a:lnTo>
                    <a:pt x="102" y="180"/>
                  </a:lnTo>
                  <a:lnTo>
                    <a:pt x="96" y="180"/>
                  </a:lnTo>
                  <a:lnTo>
                    <a:pt x="96" y="180"/>
                  </a:lnTo>
                  <a:close/>
                  <a:moveTo>
                    <a:pt x="110" y="110"/>
                  </a:moveTo>
                  <a:lnTo>
                    <a:pt x="110" y="110"/>
                  </a:lnTo>
                  <a:lnTo>
                    <a:pt x="108" y="122"/>
                  </a:lnTo>
                  <a:lnTo>
                    <a:pt x="102" y="130"/>
                  </a:lnTo>
                  <a:lnTo>
                    <a:pt x="94" y="136"/>
                  </a:lnTo>
                  <a:lnTo>
                    <a:pt x="84" y="138"/>
                  </a:lnTo>
                  <a:lnTo>
                    <a:pt x="46" y="138"/>
                  </a:lnTo>
                  <a:lnTo>
                    <a:pt x="46" y="138"/>
                  </a:lnTo>
                  <a:lnTo>
                    <a:pt x="36" y="136"/>
                  </a:lnTo>
                  <a:lnTo>
                    <a:pt x="26" y="130"/>
                  </a:lnTo>
                  <a:lnTo>
                    <a:pt x="20" y="122"/>
                  </a:lnTo>
                  <a:lnTo>
                    <a:pt x="18" y="110"/>
                  </a:lnTo>
                  <a:lnTo>
                    <a:pt x="18" y="84"/>
                  </a:lnTo>
                  <a:lnTo>
                    <a:pt x="18" y="84"/>
                  </a:lnTo>
                  <a:lnTo>
                    <a:pt x="20" y="72"/>
                  </a:lnTo>
                  <a:lnTo>
                    <a:pt x="26" y="64"/>
                  </a:lnTo>
                  <a:lnTo>
                    <a:pt x="36" y="58"/>
                  </a:lnTo>
                  <a:lnTo>
                    <a:pt x="46" y="56"/>
                  </a:lnTo>
                  <a:lnTo>
                    <a:pt x="84" y="56"/>
                  </a:lnTo>
                  <a:lnTo>
                    <a:pt x="84" y="56"/>
                  </a:lnTo>
                  <a:lnTo>
                    <a:pt x="94" y="58"/>
                  </a:lnTo>
                  <a:lnTo>
                    <a:pt x="102" y="64"/>
                  </a:lnTo>
                  <a:lnTo>
                    <a:pt x="108" y="72"/>
                  </a:lnTo>
                  <a:lnTo>
                    <a:pt x="110" y="84"/>
                  </a:lnTo>
                  <a:lnTo>
                    <a:pt x="110" y="110"/>
                  </a:lnTo>
                  <a:close/>
                </a:path>
              </a:pathLst>
            </a:custGeom>
            <a:solidFill>
              <a:sysClr val="windowText" lastClr="000000">
                <a:lumMod val="75000"/>
                <a:lumOff val="25000"/>
              </a:sysClr>
            </a:solidFill>
            <a:ln w="9525">
              <a:noFill/>
              <a:round/>
              <a:headEnd/>
              <a:tailEnd/>
            </a:ln>
          </p:spPr>
          <p:txBody>
            <a:bodyPr vert="horz" wrap="square" lIns="68562" tIns="34281" rIns="68562" bIns="34281" numCol="1" anchor="t" anchorCtr="0" compatLnSpc="1">
              <a:prstTxWarp prst="textNoShape">
                <a:avLst/>
              </a:prstTxWarp>
            </a:bodyPr>
            <a:lstStyle/>
            <a:p>
              <a:pPr defTabSz="1218793"/>
              <a:endParaRPr lang="zh-CN" altLang="en-US" sz="1200" kern="0" dirty="0">
                <a:solidFill>
                  <a:srgbClr val="000000"/>
                </a:solidFill>
                <a:latin typeface="Arial" panose="020B0604020202020204" pitchFamily="34" charset="0"/>
                <a:ea typeface="微软雅黑" pitchFamily="34" charset="-122"/>
                <a:cs typeface="Arial" pitchFamily="34" charset="0"/>
              </a:endParaRPr>
            </a:p>
          </p:txBody>
        </p:sp>
        <p:pic>
          <p:nvPicPr>
            <p:cNvPr id="89" name="Picture 2" descr="C:\Users\Administrator\Desktop\Img323992858.jpg"/>
            <p:cNvPicPr>
              <a:picLocks noChangeAspect="1" noChangeArrowheads="1"/>
            </p:cNvPicPr>
            <p:nvPr/>
          </p:nvPicPr>
          <p:blipFill rotWithShape="1">
            <a:blip r:embed="rId7" cstate="print">
              <a:extLst>
                <a:ext uri="{28A0092B-C50C-407E-A947-70E740481C1C}">
                  <a14:useLocalDpi xmlns:a14="http://schemas.microsoft.com/office/drawing/2010/main" xmlns="" val="0"/>
                </a:ext>
              </a:extLst>
            </a:blip>
            <a:srcRect r="59821"/>
            <a:stretch/>
          </p:blipFill>
          <p:spPr bwMode="auto">
            <a:xfrm>
              <a:off x="1249778" y="870639"/>
              <a:ext cx="934386" cy="1351683"/>
            </a:xfrm>
            <a:prstGeom prst="rect">
              <a:avLst/>
            </a:prstGeom>
            <a:noFill/>
            <a:extLst>
              <a:ext uri="{909E8E84-426E-40DD-AFC4-6F175D3DCCD1}">
                <a14:hiddenFill xmlns:a14="http://schemas.microsoft.com/office/drawing/2010/main" xmlns="">
                  <a:solidFill>
                    <a:srgbClr val="FFFFFF"/>
                  </a:solidFill>
                </a14:hiddenFill>
              </a:ext>
            </a:extLst>
          </p:spPr>
        </p:pic>
        <p:pic>
          <p:nvPicPr>
            <p:cNvPr id="90" name="Picture 3" descr="C:\Users\Administrator\Desktop\235078-13042PS42290.jp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7443260" y="853342"/>
              <a:ext cx="992787" cy="717427"/>
            </a:xfrm>
            <a:prstGeom prst="rect">
              <a:avLst/>
            </a:prstGeom>
            <a:noFill/>
            <a:extLst>
              <a:ext uri="{909E8E84-426E-40DD-AFC4-6F175D3DCCD1}">
                <a14:hiddenFill xmlns:a14="http://schemas.microsoft.com/office/drawing/2010/main" xmlns="">
                  <a:solidFill>
                    <a:srgbClr val="FFFFFF"/>
                  </a:solidFill>
                </a14:hiddenFill>
              </a:ext>
            </a:extLst>
          </p:spPr>
        </p:pic>
        <p:pic>
          <p:nvPicPr>
            <p:cNvPr id="92" name="图片 91"/>
            <p:cNvPicPr>
              <a:picLocks noChangeAspect="1"/>
            </p:cNvPicPr>
            <p:nvPr/>
          </p:nvPicPr>
          <p:blipFill rotWithShape="1">
            <a:blip r:embed="rId9" cstate="print">
              <a:extLst>
                <a:ext uri="{28A0092B-C50C-407E-A947-70E740481C1C}">
                  <a14:useLocalDpi xmlns:a14="http://schemas.microsoft.com/office/drawing/2010/main" xmlns="" val="0"/>
                </a:ext>
              </a:extLst>
            </a:blip>
            <a:srcRect l="24340"/>
            <a:stretch/>
          </p:blipFill>
          <p:spPr>
            <a:xfrm>
              <a:off x="7436711" y="1585397"/>
              <a:ext cx="999335" cy="664104"/>
            </a:xfrm>
            <a:prstGeom prst="rect">
              <a:avLst/>
            </a:prstGeom>
          </p:spPr>
        </p:pic>
        <p:grpSp>
          <p:nvGrpSpPr>
            <p:cNvPr id="93" name="组合 218"/>
            <p:cNvGrpSpPr/>
            <p:nvPr/>
          </p:nvGrpSpPr>
          <p:grpSpPr>
            <a:xfrm>
              <a:off x="2471809" y="899698"/>
              <a:ext cx="1336832" cy="1072442"/>
              <a:chOff x="3262747" y="1156822"/>
              <a:chExt cx="1857070" cy="1398098"/>
            </a:xfrm>
          </p:grpSpPr>
          <p:sp>
            <p:nvSpPr>
              <p:cNvPr id="94" name="圆角矩形 93"/>
              <p:cNvSpPr/>
              <p:nvPr/>
            </p:nvSpPr>
            <p:spPr bwMode="auto">
              <a:xfrm>
                <a:off x="3262747" y="1239865"/>
                <a:ext cx="1175054" cy="1315055"/>
              </a:xfrm>
              <a:prstGeom prst="roundRect">
                <a:avLst>
                  <a:gd name="adj" fmla="val 3708"/>
                </a:avLst>
              </a:prstGeom>
              <a:noFill/>
              <a:ln>
                <a:solidFill>
                  <a:srgbClr val="C00000"/>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1218793">
                  <a:buClr>
                    <a:srgbClr val="CC9900"/>
                  </a:buClr>
                  <a:buFont typeface="Wingdings" pitchFamily="2" charset="2"/>
                  <a:buChar char="n"/>
                </a:pPr>
                <a:endParaRPr lang="zh-CN" altLang="en-US" sz="1200" kern="0" dirty="0" smtClean="0">
                  <a:solidFill>
                    <a:srgbClr val="000000"/>
                  </a:solidFill>
                  <a:latin typeface="Arial" panose="020B0604020202020204" pitchFamily="34" charset="0"/>
                  <a:ea typeface="微软雅黑" pitchFamily="34" charset="-122"/>
                  <a:cs typeface="Arial" pitchFamily="34" charset="0"/>
                </a:endParaRPr>
              </a:p>
            </p:txBody>
          </p:sp>
          <p:sp>
            <p:nvSpPr>
              <p:cNvPr id="95" name="矩形标注 94"/>
              <p:cNvSpPr/>
              <p:nvPr/>
            </p:nvSpPr>
            <p:spPr bwMode="auto">
              <a:xfrm>
                <a:off x="4283562" y="1156822"/>
                <a:ext cx="836255" cy="619115"/>
              </a:xfrm>
              <a:prstGeom prst="wedgeRectCallout">
                <a:avLst>
                  <a:gd name="adj1" fmla="val -31867"/>
                  <a:gd name="adj2" fmla="val 73829"/>
                </a:avLst>
              </a:prstGeom>
              <a:solidFill>
                <a:srgbClr val="FFFFFF">
                  <a:alpha val="50196"/>
                </a:srgbClr>
              </a:solidFill>
              <a:ln w="19050">
                <a:solidFill>
                  <a:srgbClr val="FF0000">
                    <a:alpha val="50000"/>
                  </a:srgbClr>
                </a:solidFill>
              </a:ln>
              <a:effectLst/>
              <a:extLst/>
            </p:spPr>
            <p:txBody>
              <a:bodyPr lIns="162618" tIns="81309" rIns="162618" bIns="81309"/>
              <a:lstStyle/>
              <a:p>
                <a:pPr defTabSz="1218793">
                  <a:buClr>
                    <a:srgbClr val="CC9900"/>
                  </a:buClr>
                  <a:buFont typeface="Wingdings" pitchFamily="2" charset="2"/>
                  <a:buChar char="n"/>
                  <a:defRPr/>
                </a:pPr>
                <a:endParaRPr lang="zh-CN" altLang="en-US" sz="1800" kern="0" dirty="0">
                  <a:solidFill>
                    <a:srgbClr val="000000"/>
                  </a:solidFill>
                  <a:latin typeface="Arial" panose="020B0604020202020204" pitchFamily="34" charset="0"/>
                  <a:ea typeface="微软雅黑" pitchFamily="34" charset="-122"/>
                  <a:cs typeface="Arial" pitchFamily="34" charset="0"/>
                </a:endParaRPr>
              </a:p>
            </p:txBody>
          </p:sp>
          <p:pic>
            <p:nvPicPr>
              <p:cNvPr id="96" name="Picture 6"/>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4318460" y="1202426"/>
                <a:ext cx="774150" cy="542212"/>
              </a:xfrm>
              <a:prstGeom prst="roundRect">
                <a:avLst>
                  <a:gd name="adj" fmla="val 5931"/>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grpSp>
      <p:sp>
        <p:nvSpPr>
          <p:cNvPr id="16" name="422928222"/>
          <p:cNvSpPr/>
          <p:nvPr/>
        </p:nvSpPr>
        <p:spPr>
          <a:xfrm flipH="1" flipV="1">
            <a:off x="191455" y="1123298"/>
            <a:ext cx="369223" cy="1349826"/>
          </a:xfrm>
          <a:prstGeom prst="rect">
            <a:avLst/>
          </a:prstGeom>
        </p:spPr>
        <p:txBody>
          <a:bodyPr vert="eaVert" wrap="square" lIns="91386" tIns="45686" rIns="91386" bIns="45686">
            <a:spAutoFit/>
          </a:bodyPr>
          <a:lstStyle/>
          <a:p>
            <a:pPr algn="ctr" defTabSz="1218793"/>
            <a:r>
              <a:rPr lang="en-US" altLang="zh-CN" sz="1200" b="1" kern="0" dirty="0" smtClean="0">
                <a:solidFill>
                  <a:sysClr val="window" lastClr="FFFFFF"/>
                </a:solidFill>
                <a:latin typeface="Arial" panose="020B0604020202020204" pitchFamily="34" charset="0"/>
                <a:ea typeface="微软雅黑" pitchFamily="34" charset="-122"/>
                <a:cs typeface="Arial" panose="020B0604020202020204" pitchFamily="34" charset="0"/>
              </a:rPr>
              <a:t>Command center</a:t>
            </a:r>
            <a:endParaRPr lang="zh-CN" altLang="en-US" sz="1200" b="1" kern="0" dirty="0">
              <a:solidFill>
                <a:sysClr val="window" lastClr="FFFFFF"/>
              </a:solidFill>
              <a:latin typeface="Arial" panose="020B0604020202020204" pitchFamily="34" charset="0"/>
              <a:ea typeface="微软雅黑" pitchFamily="34" charset="-122"/>
              <a:cs typeface="Arial" panose="020B0604020202020204" pitchFamily="34" charset="0"/>
            </a:endParaRPr>
          </a:p>
        </p:txBody>
      </p:sp>
      <p:sp>
        <p:nvSpPr>
          <p:cNvPr id="17" name="715807292"/>
          <p:cNvSpPr>
            <a:spLocks noChangeArrowheads="1"/>
          </p:cNvSpPr>
          <p:nvPr/>
        </p:nvSpPr>
        <p:spPr bwMode="auto">
          <a:xfrm>
            <a:off x="799960" y="1998579"/>
            <a:ext cx="1790091" cy="426416"/>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a:extLst/>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en-US" altLang="zh-CN" sz="1200" b="1" dirty="0" smtClean="0">
                <a:solidFill>
                  <a:prstClr val="white"/>
                </a:solidFill>
                <a:latin typeface="Arial" panose="020B0604020202020204" pitchFamily="34" charset="0"/>
                <a:ea typeface="微软雅黑" pitchFamily="34" charset="-122"/>
              </a:rPr>
              <a:t>GIS platform</a:t>
            </a:r>
          </a:p>
          <a:p>
            <a:pPr algn="ctr" defTabSz="913909" eaLnBrk="0" fontAlgn="base" hangingPunct="0">
              <a:spcBef>
                <a:spcPct val="0"/>
              </a:spcBef>
              <a:spcAft>
                <a:spcPct val="0"/>
              </a:spcAft>
              <a:buClr>
                <a:srgbClr val="CC9900"/>
              </a:buClr>
            </a:pPr>
            <a:r>
              <a:rPr lang="en-US" altLang="zh-CN" sz="900" b="1" dirty="0" smtClean="0">
                <a:solidFill>
                  <a:prstClr val="white"/>
                </a:solidFill>
                <a:latin typeface="Arial" panose="020B0604020202020204" pitchFamily="34" charset="0"/>
                <a:ea typeface="微软雅黑" pitchFamily="34" charset="-122"/>
              </a:rPr>
              <a:t>(</a:t>
            </a:r>
            <a:r>
              <a:rPr lang="en-US" altLang="zh-CN" sz="900" b="1" dirty="0" smtClean="0">
                <a:solidFill>
                  <a:prstClr val="white"/>
                </a:solidFill>
                <a:latin typeface="Arial" panose="020B0604020202020204" pitchFamily="34" charset="0"/>
                <a:ea typeface="微软雅黑" pitchFamily="34" charset="-122"/>
              </a:rPr>
              <a:t>SuperMap, </a:t>
            </a:r>
            <a:r>
              <a:rPr lang="en-US" altLang="zh-CN" sz="900" b="1" dirty="0" smtClean="0">
                <a:solidFill>
                  <a:prstClr val="white"/>
                </a:solidFill>
                <a:latin typeface="微软雅黑" pitchFamily="34" charset="-122"/>
                <a:ea typeface="微软雅黑" pitchFamily="34" charset="-122"/>
              </a:rPr>
              <a:t>ArcGIS</a:t>
            </a:r>
            <a:r>
              <a:rPr lang="en-US" altLang="zh-CN" sz="900" b="1" dirty="0" smtClean="0">
                <a:solidFill>
                  <a:prstClr val="white"/>
                </a:solidFill>
                <a:latin typeface="Arial" panose="020B0604020202020204" pitchFamily="34" charset="0"/>
                <a:ea typeface="微软雅黑" pitchFamily="34" charset="-122"/>
              </a:rPr>
              <a:t>)</a:t>
            </a:r>
            <a:endParaRPr lang="zh-CN" altLang="en-US" sz="900" b="1" dirty="0" smtClean="0">
              <a:solidFill>
                <a:prstClr val="white"/>
              </a:solidFill>
              <a:latin typeface="Arial" panose="020B0604020202020204" pitchFamily="34" charset="0"/>
              <a:ea typeface="微软雅黑" pitchFamily="34" charset="-122"/>
            </a:endParaRPr>
          </a:p>
        </p:txBody>
      </p:sp>
      <p:pic>
        <p:nvPicPr>
          <p:cNvPr id="18" name="图片 17"/>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1039352" y="3114376"/>
            <a:ext cx="190099" cy="306952"/>
          </a:xfrm>
          <a:prstGeom prst="rect">
            <a:avLst/>
          </a:prstGeom>
        </p:spPr>
      </p:pic>
      <p:pic>
        <p:nvPicPr>
          <p:cNvPr id="19" name="图片 18"/>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1755874" y="3104817"/>
            <a:ext cx="190099" cy="306952"/>
          </a:xfrm>
          <a:prstGeom prst="rect">
            <a:avLst/>
          </a:prstGeom>
        </p:spPr>
      </p:pic>
      <p:pic>
        <p:nvPicPr>
          <p:cNvPr id="20" name="图片 19"/>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2463369" y="3104815"/>
            <a:ext cx="190099" cy="306952"/>
          </a:xfrm>
          <a:prstGeom prst="rect">
            <a:avLst/>
          </a:prstGeom>
        </p:spPr>
      </p:pic>
      <p:pic>
        <p:nvPicPr>
          <p:cNvPr id="21" name="图片 20"/>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212851" y="3106396"/>
            <a:ext cx="190099" cy="306952"/>
          </a:xfrm>
          <a:prstGeom prst="rect">
            <a:avLst/>
          </a:prstGeom>
        </p:spPr>
      </p:pic>
      <p:pic>
        <p:nvPicPr>
          <p:cNvPr id="22" name="图片 21"/>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892191" y="3092738"/>
            <a:ext cx="190099" cy="306952"/>
          </a:xfrm>
          <a:prstGeom prst="rect">
            <a:avLst/>
          </a:prstGeom>
        </p:spPr>
      </p:pic>
      <p:sp>
        <p:nvSpPr>
          <p:cNvPr id="24" name="等腰三角形 23"/>
          <p:cNvSpPr/>
          <p:nvPr/>
        </p:nvSpPr>
        <p:spPr bwMode="auto">
          <a:xfrm>
            <a:off x="59482" y="2529935"/>
            <a:ext cx="4290807" cy="247511"/>
          </a:xfrm>
          <a:prstGeom prst="triangle">
            <a:avLst>
              <a:gd name="adj" fmla="val 49703"/>
            </a:avLst>
          </a:prstGeom>
          <a:solidFill>
            <a:srgbClr val="66FFFF">
              <a:alpha val="35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lIns="91392" tIns="45690" rIns="91392" bIns="45690" rtlCol="0" anchor="ctr"/>
          <a:lstStyle/>
          <a:p>
            <a:pPr algn="ctr" defTabSz="1218793">
              <a:buSzPct val="60000"/>
              <a:defRPr/>
            </a:pPr>
            <a:endParaRPr lang="en-US" altLang="en-US" sz="1200" dirty="0" smtClean="0">
              <a:solidFill>
                <a:schemeClr val="tx1"/>
              </a:solidFill>
              <a:latin typeface="Arial" panose="020B0604020202020204" pitchFamily="34" charset="0"/>
              <a:ea typeface="微软雅黑" pitchFamily="34" charset="-122"/>
            </a:endParaRPr>
          </a:p>
        </p:txBody>
      </p:sp>
      <p:sp>
        <p:nvSpPr>
          <p:cNvPr id="25" name="文本框 14"/>
          <p:cNvSpPr txBox="1"/>
          <p:nvPr/>
        </p:nvSpPr>
        <p:spPr>
          <a:xfrm>
            <a:off x="1895935" y="2523188"/>
            <a:ext cx="612201" cy="284653"/>
          </a:xfrm>
          <a:prstGeom prst="rect">
            <a:avLst/>
          </a:prstGeom>
          <a:noFill/>
        </p:spPr>
        <p:txBody>
          <a:bodyPr wrap="square" lIns="121880" tIns="60940" rIns="121880" bIns="60940" rtlCol="0">
            <a:spAutoFit/>
          </a:bodyPr>
          <a:lstStyle/>
          <a:p>
            <a:pPr defTabSz="1218793"/>
            <a:r>
              <a:rPr lang="en-US" altLang="zh-CN" sz="1050" b="1" kern="0" dirty="0" smtClean="0">
                <a:latin typeface="Arial" panose="020B0604020202020204" pitchFamily="34" charset="0"/>
                <a:ea typeface="微软雅黑" pitchFamily="34" charset="-122"/>
              </a:rPr>
              <a:t>eSDK</a:t>
            </a:r>
            <a:endParaRPr lang="zh-CN" altLang="en-US" sz="1050" b="1" kern="0" dirty="0">
              <a:latin typeface="Arial" panose="020B0604020202020204" pitchFamily="34" charset="0"/>
              <a:ea typeface="微软雅黑" pitchFamily="34" charset="-122"/>
            </a:endParaRPr>
          </a:p>
        </p:txBody>
      </p:sp>
      <p:grpSp>
        <p:nvGrpSpPr>
          <p:cNvPr id="26" name="组合 109"/>
          <p:cNvGrpSpPr/>
          <p:nvPr/>
        </p:nvGrpSpPr>
        <p:grpSpPr>
          <a:xfrm>
            <a:off x="41774" y="3414317"/>
            <a:ext cx="736900" cy="908633"/>
            <a:chOff x="196512" y="4695568"/>
            <a:chExt cx="1415982" cy="1438651"/>
          </a:xfrm>
        </p:grpSpPr>
        <p:sp>
          <p:nvSpPr>
            <p:cNvPr id="66" name="矩形 65"/>
            <p:cNvSpPr/>
            <p:nvPr/>
          </p:nvSpPr>
          <p:spPr>
            <a:xfrm>
              <a:off x="360344" y="4695568"/>
              <a:ext cx="1080000" cy="1404000"/>
            </a:xfrm>
            <a:prstGeom prst="rect">
              <a:avLst/>
            </a:prstGeom>
            <a:gradFill flip="none" rotWithShape="1">
              <a:gsLst>
                <a:gs pos="0">
                  <a:srgbClr val="DCDFE3">
                    <a:alpha val="51000"/>
                  </a:srgb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793"/>
              <a:endParaRPr lang="zh-CN" altLang="en-US" sz="1200">
                <a:solidFill>
                  <a:prstClr val="white"/>
                </a:solidFill>
                <a:latin typeface="Arial" panose="020B0604020202020204" pitchFamily="34" charset="0"/>
                <a:ea typeface="微软雅黑" pitchFamily="34" charset="-122"/>
              </a:endParaRPr>
            </a:p>
          </p:txBody>
        </p:sp>
        <p:pic>
          <p:nvPicPr>
            <p:cNvPr id="67" name="Picture 264" descr="图片770"/>
            <p:cNvPicPr>
              <a:picLocks noChangeAspect="1" noChangeArrowheads="1"/>
            </p:cNvPicPr>
            <p:nvPr/>
          </p:nvPicPr>
          <p:blipFill>
            <a:blip r:embed="rId11" cstate="print"/>
            <a:srcRect/>
            <a:stretch>
              <a:fillRect/>
            </a:stretch>
          </p:blipFill>
          <p:spPr bwMode="auto">
            <a:xfrm>
              <a:off x="422463" y="4989160"/>
              <a:ext cx="419665" cy="416859"/>
            </a:xfrm>
            <a:prstGeom prst="rect">
              <a:avLst/>
            </a:prstGeom>
            <a:noFill/>
            <a:ln w="9525">
              <a:noFill/>
              <a:miter lim="800000"/>
              <a:headEnd/>
              <a:tailEnd/>
            </a:ln>
          </p:spPr>
        </p:pic>
        <p:pic>
          <p:nvPicPr>
            <p:cNvPr id="68" name="Picture 261" descr="图片767"/>
            <p:cNvPicPr>
              <a:picLocks noChangeAspect="1" noChangeArrowheads="1"/>
            </p:cNvPicPr>
            <p:nvPr/>
          </p:nvPicPr>
          <p:blipFill>
            <a:blip r:embed="rId12" cstate="print"/>
            <a:srcRect/>
            <a:stretch>
              <a:fillRect/>
            </a:stretch>
          </p:blipFill>
          <p:spPr bwMode="auto">
            <a:xfrm>
              <a:off x="919080" y="4990477"/>
              <a:ext cx="448048" cy="449160"/>
            </a:xfrm>
            <a:prstGeom prst="rect">
              <a:avLst/>
            </a:prstGeom>
            <a:noFill/>
            <a:ln w="9525">
              <a:noFill/>
              <a:miter lim="800000"/>
              <a:headEnd/>
              <a:tailEnd/>
            </a:ln>
          </p:spPr>
        </p:pic>
        <p:sp>
          <p:nvSpPr>
            <p:cNvPr id="69" name="Text Box 12"/>
            <p:cNvSpPr txBox="1">
              <a:spLocks noChangeArrowheads="1"/>
            </p:cNvSpPr>
            <p:nvPr/>
          </p:nvSpPr>
          <p:spPr bwMode="auto">
            <a:xfrm>
              <a:off x="196512" y="5658091"/>
              <a:ext cx="1415982" cy="476128"/>
            </a:xfrm>
            <a:prstGeom prst="rect">
              <a:avLst/>
            </a:prstGeom>
            <a:noFill/>
            <a:ln w="9525">
              <a:noFill/>
              <a:miter lim="800000"/>
              <a:headEnd/>
              <a:tailEnd/>
            </a:ln>
          </p:spPr>
          <p:txBody>
            <a:bodyPr wrap="square" lIns="78353" tIns="39176" rIns="78353" bIns="39176">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783757" eaLnBrk="0" hangingPunct="0">
                <a:lnSpc>
                  <a:spcPct val="80000"/>
                </a:lnSpc>
                <a:buClr>
                  <a:srgbClr val="000000"/>
                </a:buClr>
                <a:buSzPct val="70000"/>
              </a:pPr>
              <a:r>
                <a:rPr lang="en-US" altLang="zh-CN" sz="600" dirty="0" smtClean="0">
                  <a:solidFill>
                    <a:prstClr val="black"/>
                  </a:solidFill>
                  <a:latin typeface="Arial" panose="020B0604020202020204" pitchFamily="34" charset="0"/>
                  <a:ea typeface="微软雅黑" pitchFamily="34" charset="-122"/>
                  <a:cs typeface="Arial" pitchFamily="34" charset="0"/>
                </a:rPr>
                <a:t>Telephone/SMS/Email/App</a:t>
              </a:r>
            </a:p>
            <a:p>
              <a:pPr algn="ctr" defTabSz="783757" eaLnBrk="0" hangingPunct="0">
                <a:lnSpc>
                  <a:spcPct val="80000"/>
                </a:lnSpc>
                <a:buClr>
                  <a:srgbClr val="000000"/>
                </a:buClr>
                <a:buSzPct val="70000"/>
              </a:pPr>
              <a:r>
                <a:rPr lang="en-US" altLang="zh-CN" sz="600" dirty="0" smtClean="0">
                  <a:solidFill>
                    <a:prstClr val="black"/>
                  </a:solidFill>
                  <a:latin typeface="Arial" panose="020B0604020202020204" pitchFamily="34" charset="0"/>
                  <a:ea typeface="微软雅黑" pitchFamily="34" charset="-122"/>
                  <a:cs typeface="Arial" pitchFamily="34" charset="0"/>
                </a:rPr>
                <a:t>/Social media</a:t>
              </a:r>
              <a:endParaRPr lang="en-US" altLang="zh-CN" sz="600" dirty="0">
                <a:solidFill>
                  <a:prstClr val="black"/>
                </a:solidFill>
                <a:latin typeface="Arial" panose="020B0604020202020204" pitchFamily="34" charset="0"/>
                <a:ea typeface="微软雅黑" pitchFamily="34" charset="-122"/>
                <a:cs typeface="Arial" pitchFamily="34" charset="0"/>
              </a:endParaRPr>
            </a:p>
          </p:txBody>
        </p:sp>
      </p:grpSp>
      <p:sp>
        <p:nvSpPr>
          <p:cNvPr id="27" name="矩形 26"/>
          <p:cNvSpPr/>
          <p:nvPr/>
        </p:nvSpPr>
        <p:spPr>
          <a:xfrm>
            <a:off x="1566776" y="3414315"/>
            <a:ext cx="562049" cy="886749"/>
          </a:xfrm>
          <a:prstGeom prst="rect">
            <a:avLst/>
          </a:prstGeom>
          <a:solidFill>
            <a:srgbClr val="66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2" tIns="45690" rIns="91392" bIns="45690" rtlCol="0" anchor="ctr"/>
          <a:lstStyle/>
          <a:p>
            <a:pPr algn="ctr" defTabSz="1218793"/>
            <a:endParaRPr lang="zh-CN" altLang="en-US" sz="1200">
              <a:solidFill>
                <a:prstClr val="white"/>
              </a:solidFill>
              <a:latin typeface="Arial" panose="020B0604020202020204" pitchFamily="34" charset="0"/>
              <a:ea typeface="微软雅黑" pitchFamily="34" charset="-122"/>
            </a:endParaRPr>
          </a:p>
        </p:txBody>
      </p:sp>
      <p:sp>
        <p:nvSpPr>
          <p:cNvPr id="60" name="矩形 59"/>
          <p:cNvSpPr/>
          <p:nvPr/>
        </p:nvSpPr>
        <p:spPr>
          <a:xfrm>
            <a:off x="3719658" y="3407574"/>
            <a:ext cx="562049" cy="886748"/>
          </a:xfrm>
          <a:prstGeom prst="rect">
            <a:avLst/>
          </a:prstGeom>
          <a:solidFill>
            <a:srgbClr val="66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2" tIns="45690" rIns="91392" bIns="45690" rtlCol="0" anchor="ctr"/>
          <a:lstStyle/>
          <a:p>
            <a:pPr algn="ctr" defTabSz="1218793"/>
            <a:endParaRPr lang="zh-CN" altLang="en-US" sz="1200">
              <a:solidFill>
                <a:prstClr val="white"/>
              </a:solidFill>
              <a:latin typeface="Arial" panose="020B0604020202020204" pitchFamily="34" charset="0"/>
              <a:ea typeface="微软雅黑" pitchFamily="34" charset="-122"/>
            </a:endParaRPr>
          </a:p>
        </p:txBody>
      </p:sp>
      <p:sp>
        <p:nvSpPr>
          <p:cNvPr id="61" name="437182653"/>
          <p:cNvSpPr txBox="1">
            <a:spLocks noChangeArrowheads="1"/>
          </p:cNvSpPr>
          <p:nvPr/>
        </p:nvSpPr>
        <p:spPr bwMode="auto">
          <a:xfrm>
            <a:off x="3631054" y="4185719"/>
            <a:ext cx="734119" cy="128361"/>
          </a:xfrm>
          <a:prstGeom prst="rect">
            <a:avLst/>
          </a:prstGeom>
          <a:noFill/>
          <a:ln w="9525">
            <a:noFill/>
            <a:miter lim="800000"/>
            <a:headEnd/>
            <a:tailEnd/>
          </a:ln>
        </p:spPr>
        <p:txBody>
          <a:bodyPr wrap="square" lIns="78353" tIns="39176" rIns="78353" bIns="39176">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783757" eaLnBrk="0" hangingPunct="0">
              <a:lnSpc>
                <a:spcPct val="80000"/>
              </a:lnSpc>
              <a:buClr>
                <a:srgbClr val="000000"/>
              </a:buClr>
              <a:buSzPct val="70000"/>
            </a:pPr>
            <a:r>
              <a:rPr lang="en-US" altLang="zh-CN" sz="400" dirty="0" smtClean="0">
                <a:solidFill>
                  <a:prstClr val="black"/>
                </a:solidFill>
                <a:latin typeface="Arial" panose="020B0604020202020204" pitchFamily="34" charset="0"/>
                <a:ea typeface="微软雅黑" pitchFamily="34" charset="-122"/>
                <a:cs typeface="Arial" pitchFamily="34" charset="0"/>
              </a:rPr>
              <a:t>eLTE-U video backhaul</a:t>
            </a:r>
            <a:endParaRPr lang="en-US" altLang="zh-CN" sz="400" dirty="0">
              <a:solidFill>
                <a:prstClr val="black"/>
              </a:solidFill>
              <a:latin typeface="Arial" panose="020B0604020202020204" pitchFamily="34" charset="0"/>
              <a:ea typeface="微软雅黑" pitchFamily="34" charset="-122"/>
              <a:cs typeface="Arial" pitchFamily="34" charset="0"/>
            </a:endParaRPr>
          </a:p>
        </p:txBody>
      </p:sp>
      <p:sp>
        <p:nvSpPr>
          <p:cNvPr id="46" name="矩形 45"/>
          <p:cNvSpPr/>
          <p:nvPr/>
        </p:nvSpPr>
        <p:spPr>
          <a:xfrm>
            <a:off x="839966" y="3414315"/>
            <a:ext cx="562049" cy="886747"/>
          </a:xfrm>
          <a:prstGeom prst="rect">
            <a:avLst/>
          </a:prstGeom>
          <a:gradFill flip="none" rotWithShape="1">
            <a:gsLst>
              <a:gs pos="0">
                <a:srgbClr val="DCDFE3">
                  <a:alpha val="51000"/>
                </a:srgb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793"/>
            <a:endParaRPr lang="zh-CN" altLang="en-US" sz="1200">
              <a:solidFill>
                <a:prstClr val="white"/>
              </a:solidFill>
              <a:latin typeface="Arial" panose="020B0604020202020204" pitchFamily="34" charset="0"/>
              <a:ea typeface="微软雅黑" pitchFamily="34" charset="-122"/>
            </a:endParaRPr>
          </a:p>
        </p:txBody>
      </p:sp>
      <p:grpSp>
        <p:nvGrpSpPr>
          <p:cNvPr id="48" name="组合 634"/>
          <p:cNvGrpSpPr/>
          <p:nvPr/>
        </p:nvGrpSpPr>
        <p:grpSpPr>
          <a:xfrm>
            <a:off x="1069914" y="3440027"/>
            <a:ext cx="146354" cy="378787"/>
            <a:chOff x="14536144" y="-793834"/>
            <a:chExt cx="772115" cy="829074"/>
          </a:xfrm>
          <a:solidFill>
            <a:schemeClr val="tx1">
              <a:lumMod val="50000"/>
              <a:lumOff val="50000"/>
            </a:schemeClr>
          </a:solidFill>
        </p:grpSpPr>
        <p:sp>
          <p:nvSpPr>
            <p:cNvPr id="51" name="Freeform 33"/>
            <p:cNvSpPr>
              <a:spLocks noEditPoints="1"/>
            </p:cNvSpPr>
            <p:nvPr/>
          </p:nvSpPr>
          <p:spPr bwMode="auto">
            <a:xfrm>
              <a:off x="14770310" y="-521695"/>
              <a:ext cx="348084" cy="556935"/>
            </a:xfrm>
            <a:custGeom>
              <a:avLst/>
              <a:gdLst/>
              <a:ahLst/>
              <a:cxnLst>
                <a:cxn ang="0">
                  <a:pos x="68" y="54"/>
                </a:cxn>
                <a:cxn ang="0">
                  <a:pos x="68" y="48"/>
                </a:cxn>
                <a:cxn ang="0">
                  <a:pos x="70" y="44"/>
                </a:cxn>
                <a:cxn ang="0">
                  <a:pos x="78" y="32"/>
                </a:cxn>
                <a:cxn ang="0">
                  <a:pos x="80" y="24"/>
                </a:cxn>
                <a:cxn ang="0">
                  <a:pos x="74" y="6"/>
                </a:cxn>
                <a:cxn ang="0">
                  <a:pos x="56" y="0"/>
                </a:cxn>
                <a:cxn ang="0">
                  <a:pos x="46" y="2"/>
                </a:cxn>
                <a:cxn ang="0">
                  <a:pos x="32" y="16"/>
                </a:cxn>
                <a:cxn ang="0">
                  <a:pos x="30" y="24"/>
                </a:cxn>
                <a:cxn ang="0">
                  <a:pos x="34" y="38"/>
                </a:cxn>
                <a:cxn ang="0">
                  <a:pos x="40" y="44"/>
                </a:cxn>
                <a:cxn ang="0">
                  <a:pos x="42" y="54"/>
                </a:cxn>
                <a:cxn ang="0">
                  <a:pos x="0" y="174"/>
                </a:cxn>
                <a:cxn ang="0">
                  <a:pos x="2" y="176"/>
                </a:cxn>
                <a:cxn ang="0">
                  <a:pos x="22" y="170"/>
                </a:cxn>
                <a:cxn ang="0">
                  <a:pos x="56" y="164"/>
                </a:cxn>
                <a:cxn ang="0">
                  <a:pos x="72" y="166"/>
                </a:cxn>
                <a:cxn ang="0">
                  <a:pos x="108" y="176"/>
                </a:cxn>
                <a:cxn ang="0">
                  <a:pos x="110" y="176"/>
                </a:cxn>
                <a:cxn ang="0">
                  <a:pos x="110" y="174"/>
                </a:cxn>
                <a:cxn ang="0">
                  <a:pos x="56" y="72"/>
                </a:cxn>
                <a:cxn ang="0">
                  <a:pos x="64" y="76"/>
                </a:cxn>
                <a:cxn ang="0">
                  <a:pos x="68" y="84"/>
                </a:cxn>
                <a:cxn ang="0">
                  <a:pos x="66" y="90"/>
                </a:cxn>
                <a:cxn ang="0">
                  <a:pos x="60" y="96"/>
                </a:cxn>
                <a:cxn ang="0">
                  <a:pos x="56" y="98"/>
                </a:cxn>
                <a:cxn ang="0">
                  <a:pos x="46" y="94"/>
                </a:cxn>
                <a:cxn ang="0">
                  <a:pos x="42" y="84"/>
                </a:cxn>
                <a:cxn ang="0">
                  <a:pos x="44" y="80"/>
                </a:cxn>
                <a:cxn ang="0">
                  <a:pos x="50" y="74"/>
                </a:cxn>
                <a:cxn ang="0">
                  <a:pos x="56" y="72"/>
                </a:cxn>
                <a:cxn ang="0">
                  <a:pos x="56" y="144"/>
                </a:cxn>
                <a:cxn ang="0">
                  <a:pos x="42" y="138"/>
                </a:cxn>
                <a:cxn ang="0">
                  <a:pos x="36" y="124"/>
                </a:cxn>
                <a:cxn ang="0">
                  <a:pos x="38" y="118"/>
                </a:cxn>
                <a:cxn ang="0">
                  <a:pos x="48" y="108"/>
                </a:cxn>
                <a:cxn ang="0">
                  <a:pos x="56" y="106"/>
                </a:cxn>
                <a:cxn ang="0">
                  <a:pos x="68" y="112"/>
                </a:cxn>
                <a:cxn ang="0">
                  <a:pos x="74" y="124"/>
                </a:cxn>
                <a:cxn ang="0">
                  <a:pos x="72" y="132"/>
                </a:cxn>
                <a:cxn ang="0">
                  <a:pos x="62" y="142"/>
                </a:cxn>
                <a:cxn ang="0">
                  <a:pos x="56" y="144"/>
                </a:cxn>
              </a:cxnLst>
              <a:rect l="0" t="0" r="r" b="b"/>
              <a:pathLst>
                <a:path w="110" h="176">
                  <a:moveTo>
                    <a:pt x="110" y="174"/>
                  </a:moveTo>
                  <a:lnTo>
                    <a:pt x="68" y="54"/>
                  </a:lnTo>
                  <a:lnTo>
                    <a:pt x="68" y="54"/>
                  </a:lnTo>
                  <a:lnTo>
                    <a:pt x="68" y="48"/>
                  </a:lnTo>
                  <a:lnTo>
                    <a:pt x="70" y="44"/>
                  </a:lnTo>
                  <a:lnTo>
                    <a:pt x="70" y="44"/>
                  </a:lnTo>
                  <a:lnTo>
                    <a:pt x="76" y="38"/>
                  </a:lnTo>
                  <a:lnTo>
                    <a:pt x="78" y="32"/>
                  </a:lnTo>
                  <a:lnTo>
                    <a:pt x="80" y="24"/>
                  </a:lnTo>
                  <a:lnTo>
                    <a:pt x="80" y="24"/>
                  </a:lnTo>
                  <a:lnTo>
                    <a:pt x="78" y="16"/>
                  </a:lnTo>
                  <a:lnTo>
                    <a:pt x="74" y="6"/>
                  </a:lnTo>
                  <a:lnTo>
                    <a:pt x="64" y="2"/>
                  </a:lnTo>
                  <a:lnTo>
                    <a:pt x="56" y="0"/>
                  </a:lnTo>
                  <a:lnTo>
                    <a:pt x="56" y="0"/>
                  </a:lnTo>
                  <a:lnTo>
                    <a:pt x="46" y="2"/>
                  </a:lnTo>
                  <a:lnTo>
                    <a:pt x="38" y="6"/>
                  </a:lnTo>
                  <a:lnTo>
                    <a:pt x="32" y="16"/>
                  </a:lnTo>
                  <a:lnTo>
                    <a:pt x="30" y="24"/>
                  </a:lnTo>
                  <a:lnTo>
                    <a:pt x="30" y="24"/>
                  </a:lnTo>
                  <a:lnTo>
                    <a:pt x="32" y="32"/>
                  </a:lnTo>
                  <a:lnTo>
                    <a:pt x="34" y="38"/>
                  </a:lnTo>
                  <a:lnTo>
                    <a:pt x="40" y="44"/>
                  </a:lnTo>
                  <a:lnTo>
                    <a:pt x="40" y="44"/>
                  </a:lnTo>
                  <a:lnTo>
                    <a:pt x="42" y="48"/>
                  </a:lnTo>
                  <a:lnTo>
                    <a:pt x="42" y="54"/>
                  </a:lnTo>
                  <a:lnTo>
                    <a:pt x="0" y="174"/>
                  </a:lnTo>
                  <a:lnTo>
                    <a:pt x="0" y="174"/>
                  </a:lnTo>
                  <a:lnTo>
                    <a:pt x="0" y="176"/>
                  </a:lnTo>
                  <a:lnTo>
                    <a:pt x="2" y="176"/>
                  </a:lnTo>
                  <a:lnTo>
                    <a:pt x="2" y="176"/>
                  </a:lnTo>
                  <a:lnTo>
                    <a:pt x="22" y="170"/>
                  </a:lnTo>
                  <a:lnTo>
                    <a:pt x="38" y="166"/>
                  </a:lnTo>
                  <a:lnTo>
                    <a:pt x="56" y="164"/>
                  </a:lnTo>
                  <a:lnTo>
                    <a:pt x="56" y="164"/>
                  </a:lnTo>
                  <a:lnTo>
                    <a:pt x="72" y="166"/>
                  </a:lnTo>
                  <a:lnTo>
                    <a:pt x="88" y="170"/>
                  </a:lnTo>
                  <a:lnTo>
                    <a:pt x="108" y="176"/>
                  </a:lnTo>
                  <a:lnTo>
                    <a:pt x="108" y="176"/>
                  </a:lnTo>
                  <a:lnTo>
                    <a:pt x="110" y="176"/>
                  </a:lnTo>
                  <a:lnTo>
                    <a:pt x="110" y="174"/>
                  </a:lnTo>
                  <a:lnTo>
                    <a:pt x="110" y="174"/>
                  </a:lnTo>
                  <a:close/>
                  <a:moveTo>
                    <a:pt x="56" y="72"/>
                  </a:moveTo>
                  <a:lnTo>
                    <a:pt x="56" y="72"/>
                  </a:lnTo>
                  <a:lnTo>
                    <a:pt x="60" y="74"/>
                  </a:lnTo>
                  <a:lnTo>
                    <a:pt x="64" y="76"/>
                  </a:lnTo>
                  <a:lnTo>
                    <a:pt x="66" y="80"/>
                  </a:lnTo>
                  <a:lnTo>
                    <a:pt x="68" y="84"/>
                  </a:lnTo>
                  <a:lnTo>
                    <a:pt x="68" y="84"/>
                  </a:lnTo>
                  <a:lnTo>
                    <a:pt x="66" y="90"/>
                  </a:lnTo>
                  <a:lnTo>
                    <a:pt x="64" y="94"/>
                  </a:lnTo>
                  <a:lnTo>
                    <a:pt x="60" y="96"/>
                  </a:lnTo>
                  <a:lnTo>
                    <a:pt x="56" y="98"/>
                  </a:lnTo>
                  <a:lnTo>
                    <a:pt x="56" y="98"/>
                  </a:lnTo>
                  <a:lnTo>
                    <a:pt x="50" y="96"/>
                  </a:lnTo>
                  <a:lnTo>
                    <a:pt x="46" y="94"/>
                  </a:lnTo>
                  <a:lnTo>
                    <a:pt x="44" y="90"/>
                  </a:lnTo>
                  <a:lnTo>
                    <a:pt x="42" y="84"/>
                  </a:lnTo>
                  <a:lnTo>
                    <a:pt x="42" y="84"/>
                  </a:lnTo>
                  <a:lnTo>
                    <a:pt x="44" y="80"/>
                  </a:lnTo>
                  <a:lnTo>
                    <a:pt x="46" y="76"/>
                  </a:lnTo>
                  <a:lnTo>
                    <a:pt x="50" y="74"/>
                  </a:lnTo>
                  <a:lnTo>
                    <a:pt x="56" y="72"/>
                  </a:lnTo>
                  <a:lnTo>
                    <a:pt x="56" y="72"/>
                  </a:lnTo>
                  <a:close/>
                  <a:moveTo>
                    <a:pt x="56" y="144"/>
                  </a:moveTo>
                  <a:lnTo>
                    <a:pt x="56" y="144"/>
                  </a:lnTo>
                  <a:lnTo>
                    <a:pt x="48" y="142"/>
                  </a:lnTo>
                  <a:lnTo>
                    <a:pt x="42" y="138"/>
                  </a:lnTo>
                  <a:lnTo>
                    <a:pt x="38" y="132"/>
                  </a:lnTo>
                  <a:lnTo>
                    <a:pt x="36" y="124"/>
                  </a:lnTo>
                  <a:lnTo>
                    <a:pt x="36" y="124"/>
                  </a:lnTo>
                  <a:lnTo>
                    <a:pt x="38" y="118"/>
                  </a:lnTo>
                  <a:lnTo>
                    <a:pt x="42" y="112"/>
                  </a:lnTo>
                  <a:lnTo>
                    <a:pt x="48" y="108"/>
                  </a:lnTo>
                  <a:lnTo>
                    <a:pt x="56" y="106"/>
                  </a:lnTo>
                  <a:lnTo>
                    <a:pt x="56" y="106"/>
                  </a:lnTo>
                  <a:lnTo>
                    <a:pt x="62" y="108"/>
                  </a:lnTo>
                  <a:lnTo>
                    <a:pt x="68" y="112"/>
                  </a:lnTo>
                  <a:lnTo>
                    <a:pt x="72" y="118"/>
                  </a:lnTo>
                  <a:lnTo>
                    <a:pt x="74" y="124"/>
                  </a:lnTo>
                  <a:lnTo>
                    <a:pt x="74" y="124"/>
                  </a:lnTo>
                  <a:lnTo>
                    <a:pt x="72" y="132"/>
                  </a:lnTo>
                  <a:lnTo>
                    <a:pt x="68" y="138"/>
                  </a:lnTo>
                  <a:lnTo>
                    <a:pt x="62" y="142"/>
                  </a:lnTo>
                  <a:lnTo>
                    <a:pt x="56" y="144"/>
                  </a:lnTo>
                  <a:lnTo>
                    <a:pt x="56" y="144"/>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Arial" panose="020B0604020202020204" pitchFamily="34" charset="0"/>
                <a:ea typeface="微软雅黑" pitchFamily="34" charset="-122"/>
              </a:endParaRPr>
            </a:p>
          </p:txBody>
        </p:sp>
        <p:sp>
          <p:nvSpPr>
            <p:cNvPr id="52" name="Freeform 34"/>
            <p:cNvSpPr>
              <a:spLocks/>
            </p:cNvSpPr>
            <p:nvPr/>
          </p:nvSpPr>
          <p:spPr bwMode="auto">
            <a:xfrm>
              <a:off x="14536144" y="-629285"/>
              <a:ext cx="101261" cy="354413"/>
            </a:xfrm>
            <a:custGeom>
              <a:avLst/>
              <a:gdLst/>
              <a:ahLst/>
              <a:cxnLst>
                <a:cxn ang="0">
                  <a:pos x="20" y="2"/>
                </a:cxn>
                <a:cxn ang="0">
                  <a:pos x="20" y="2"/>
                </a:cxn>
                <a:cxn ang="0">
                  <a:pos x="12" y="12"/>
                </a:cxn>
                <a:cxn ang="0">
                  <a:pos x="6" y="26"/>
                </a:cxn>
                <a:cxn ang="0">
                  <a:pos x="2" y="40"/>
                </a:cxn>
                <a:cxn ang="0">
                  <a:pos x="0" y="54"/>
                </a:cxn>
                <a:cxn ang="0">
                  <a:pos x="0" y="54"/>
                </a:cxn>
                <a:cxn ang="0">
                  <a:pos x="2" y="68"/>
                </a:cxn>
                <a:cxn ang="0">
                  <a:pos x="6" y="84"/>
                </a:cxn>
                <a:cxn ang="0">
                  <a:pos x="14" y="98"/>
                </a:cxn>
                <a:cxn ang="0">
                  <a:pos x="24" y="112"/>
                </a:cxn>
                <a:cxn ang="0">
                  <a:pos x="24" y="112"/>
                </a:cxn>
                <a:cxn ang="0">
                  <a:pos x="28" y="112"/>
                </a:cxn>
                <a:cxn ang="0">
                  <a:pos x="30" y="112"/>
                </a:cxn>
                <a:cxn ang="0">
                  <a:pos x="30" y="112"/>
                </a:cxn>
                <a:cxn ang="0">
                  <a:pos x="32" y="108"/>
                </a:cxn>
                <a:cxn ang="0">
                  <a:pos x="30" y="106"/>
                </a:cxn>
                <a:cxn ang="0">
                  <a:pos x="30" y="106"/>
                </a:cxn>
                <a:cxn ang="0">
                  <a:pos x="20" y="94"/>
                </a:cxn>
                <a:cxn ang="0">
                  <a:pos x="14" y="80"/>
                </a:cxn>
                <a:cxn ang="0">
                  <a:pos x="10" y="68"/>
                </a:cxn>
                <a:cxn ang="0">
                  <a:pos x="8" y="54"/>
                </a:cxn>
                <a:cxn ang="0">
                  <a:pos x="8" y="54"/>
                </a:cxn>
                <a:cxn ang="0">
                  <a:pos x="10" y="40"/>
                </a:cxn>
                <a:cxn ang="0">
                  <a:pos x="12" y="28"/>
                </a:cxn>
                <a:cxn ang="0">
                  <a:pos x="18" y="18"/>
                </a:cxn>
                <a:cxn ang="0">
                  <a:pos x="26" y="8"/>
                </a:cxn>
                <a:cxn ang="0">
                  <a:pos x="26" y="8"/>
                </a:cxn>
                <a:cxn ang="0">
                  <a:pos x="28" y="4"/>
                </a:cxn>
                <a:cxn ang="0">
                  <a:pos x="26" y="2"/>
                </a:cxn>
                <a:cxn ang="0">
                  <a:pos x="26" y="2"/>
                </a:cxn>
                <a:cxn ang="0">
                  <a:pos x="24" y="0"/>
                </a:cxn>
                <a:cxn ang="0">
                  <a:pos x="20" y="2"/>
                </a:cxn>
                <a:cxn ang="0">
                  <a:pos x="20" y="2"/>
                </a:cxn>
              </a:cxnLst>
              <a:rect l="0" t="0" r="r" b="b"/>
              <a:pathLst>
                <a:path w="32" h="112">
                  <a:moveTo>
                    <a:pt x="20" y="2"/>
                  </a:moveTo>
                  <a:lnTo>
                    <a:pt x="20" y="2"/>
                  </a:lnTo>
                  <a:lnTo>
                    <a:pt x="12" y="12"/>
                  </a:lnTo>
                  <a:lnTo>
                    <a:pt x="6" y="26"/>
                  </a:lnTo>
                  <a:lnTo>
                    <a:pt x="2" y="40"/>
                  </a:lnTo>
                  <a:lnTo>
                    <a:pt x="0" y="54"/>
                  </a:lnTo>
                  <a:lnTo>
                    <a:pt x="0" y="54"/>
                  </a:lnTo>
                  <a:lnTo>
                    <a:pt x="2" y="68"/>
                  </a:lnTo>
                  <a:lnTo>
                    <a:pt x="6" y="84"/>
                  </a:lnTo>
                  <a:lnTo>
                    <a:pt x="14" y="98"/>
                  </a:lnTo>
                  <a:lnTo>
                    <a:pt x="24" y="112"/>
                  </a:lnTo>
                  <a:lnTo>
                    <a:pt x="24" y="112"/>
                  </a:lnTo>
                  <a:lnTo>
                    <a:pt x="28" y="112"/>
                  </a:lnTo>
                  <a:lnTo>
                    <a:pt x="30" y="112"/>
                  </a:lnTo>
                  <a:lnTo>
                    <a:pt x="30" y="112"/>
                  </a:lnTo>
                  <a:lnTo>
                    <a:pt x="32" y="108"/>
                  </a:lnTo>
                  <a:lnTo>
                    <a:pt x="30" y="106"/>
                  </a:lnTo>
                  <a:lnTo>
                    <a:pt x="30" y="106"/>
                  </a:lnTo>
                  <a:lnTo>
                    <a:pt x="20" y="94"/>
                  </a:lnTo>
                  <a:lnTo>
                    <a:pt x="14" y="80"/>
                  </a:lnTo>
                  <a:lnTo>
                    <a:pt x="10" y="68"/>
                  </a:lnTo>
                  <a:lnTo>
                    <a:pt x="8" y="54"/>
                  </a:lnTo>
                  <a:lnTo>
                    <a:pt x="8" y="54"/>
                  </a:lnTo>
                  <a:lnTo>
                    <a:pt x="10" y="40"/>
                  </a:lnTo>
                  <a:lnTo>
                    <a:pt x="12" y="28"/>
                  </a:lnTo>
                  <a:lnTo>
                    <a:pt x="18" y="18"/>
                  </a:lnTo>
                  <a:lnTo>
                    <a:pt x="26" y="8"/>
                  </a:lnTo>
                  <a:lnTo>
                    <a:pt x="26" y="8"/>
                  </a:lnTo>
                  <a:lnTo>
                    <a:pt x="28" y="4"/>
                  </a:lnTo>
                  <a:lnTo>
                    <a:pt x="26" y="2"/>
                  </a:lnTo>
                  <a:lnTo>
                    <a:pt x="26" y="2"/>
                  </a:lnTo>
                  <a:lnTo>
                    <a:pt x="24" y="0"/>
                  </a:lnTo>
                  <a:lnTo>
                    <a:pt x="20" y="2"/>
                  </a:lnTo>
                  <a:lnTo>
                    <a:pt x="20" y="2"/>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Arial" panose="020B0604020202020204" pitchFamily="34" charset="0"/>
                <a:ea typeface="微软雅黑" pitchFamily="34" charset="-122"/>
              </a:endParaRPr>
            </a:p>
          </p:txBody>
        </p:sp>
        <p:sp>
          <p:nvSpPr>
            <p:cNvPr id="53" name="Freeform 35"/>
            <p:cNvSpPr>
              <a:spLocks/>
            </p:cNvSpPr>
            <p:nvPr/>
          </p:nvSpPr>
          <p:spPr bwMode="auto">
            <a:xfrm>
              <a:off x="14618419" y="-603970"/>
              <a:ext cx="88603" cy="310112"/>
            </a:xfrm>
            <a:custGeom>
              <a:avLst/>
              <a:gdLst/>
              <a:ahLst/>
              <a:cxnLst>
                <a:cxn ang="0">
                  <a:pos x="18" y="0"/>
                </a:cxn>
                <a:cxn ang="0">
                  <a:pos x="18" y="0"/>
                </a:cxn>
                <a:cxn ang="0">
                  <a:pos x="10" y="10"/>
                </a:cxn>
                <a:cxn ang="0">
                  <a:pos x="4" y="22"/>
                </a:cxn>
                <a:cxn ang="0">
                  <a:pos x="0" y="34"/>
                </a:cxn>
                <a:cxn ang="0">
                  <a:pos x="0" y="46"/>
                </a:cxn>
                <a:cxn ang="0">
                  <a:pos x="0" y="46"/>
                </a:cxn>
                <a:cxn ang="0">
                  <a:pos x="0" y="60"/>
                </a:cxn>
                <a:cxn ang="0">
                  <a:pos x="4" y="72"/>
                </a:cxn>
                <a:cxn ang="0">
                  <a:pos x="12" y="84"/>
                </a:cxn>
                <a:cxn ang="0">
                  <a:pos x="20" y="96"/>
                </a:cxn>
                <a:cxn ang="0">
                  <a:pos x="20" y="96"/>
                </a:cxn>
                <a:cxn ang="0">
                  <a:pos x="24" y="98"/>
                </a:cxn>
                <a:cxn ang="0">
                  <a:pos x="26" y="96"/>
                </a:cxn>
                <a:cxn ang="0">
                  <a:pos x="26" y="96"/>
                </a:cxn>
                <a:cxn ang="0">
                  <a:pos x="28" y="94"/>
                </a:cxn>
                <a:cxn ang="0">
                  <a:pos x="26" y="90"/>
                </a:cxn>
                <a:cxn ang="0">
                  <a:pos x="26" y="90"/>
                </a:cxn>
                <a:cxn ang="0">
                  <a:pos x="18" y="80"/>
                </a:cxn>
                <a:cxn ang="0">
                  <a:pos x="12" y="70"/>
                </a:cxn>
                <a:cxn ang="0">
                  <a:pos x="8" y="58"/>
                </a:cxn>
                <a:cxn ang="0">
                  <a:pos x="8" y="46"/>
                </a:cxn>
                <a:cxn ang="0">
                  <a:pos x="8" y="46"/>
                </a:cxn>
                <a:cxn ang="0">
                  <a:pos x="8" y="36"/>
                </a:cxn>
                <a:cxn ang="0">
                  <a:pos x="12" y="24"/>
                </a:cxn>
                <a:cxn ang="0">
                  <a:pos x="16" y="16"/>
                </a:cxn>
                <a:cxn ang="0">
                  <a:pos x="24" y="6"/>
                </a:cxn>
                <a:cxn ang="0">
                  <a:pos x="24" y="6"/>
                </a:cxn>
                <a:cxn ang="0">
                  <a:pos x="24" y="4"/>
                </a:cxn>
                <a:cxn ang="0">
                  <a:pos x="24" y="0"/>
                </a:cxn>
                <a:cxn ang="0">
                  <a:pos x="24" y="0"/>
                </a:cxn>
                <a:cxn ang="0">
                  <a:pos x="20" y="0"/>
                </a:cxn>
                <a:cxn ang="0">
                  <a:pos x="18" y="0"/>
                </a:cxn>
                <a:cxn ang="0">
                  <a:pos x="18" y="0"/>
                </a:cxn>
              </a:cxnLst>
              <a:rect l="0" t="0" r="r" b="b"/>
              <a:pathLst>
                <a:path w="28" h="98">
                  <a:moveTo>
                    <a:pt x="18" y="0"/>
                  </a:moveTo>
                  <a:lnTo>
                    <a:pt x="18" y="0"/>
                  </a:lnTo>
                  <a:lnTo>
                    <a:pt x="10" y="10"/>
                  </a:lnTo>
                  <a:lnTo>
                    <a:pt x="4" y="22"/>
                  </a:lnTo>
                  <a:lnTo>
                    <a:pt x="0" y="34"/>
                  </a:lnTo>
                  <a:lnTo>
                    <a:pt x="0" y="46"/>
                  </a:lnTo>
                  <a:lnTo>
                    <a:pt x="0" y="46"/>
                  </a:lnTo>
                  <a:lnTo>
                    <a:pt x="0" y="60"/>
                  </a:lnTo>
                  <a:lnTo>
                    <a:pt x="4" y="72"/>
                  </a:lnTo>
                  <a:lnTo>
                    <a:pt x="12" y="84"/>
                  </a:lnTo>
                  <a:lnTo>
                    <a:pt x="20" y="96"/>
                  </a:lnTo>
                  <a:lnTo>
                    <a:pt x="20" y="96"/>
                  </a:lnTo>
                  <a:lnTo>
                    <a:pt x="24" y="98"/>
                  </a:lnTo>
                  <a:lnTo>
                    <a:pt x="26" y="96"/>
                  </a:lnTo>
                  <a:lnTo>
                    <a:pt x="26" y="96"/>
                  </a:lnTo>
                  <a:lnTo>
                    <a:pt x="28" y="94"/>
                  </a:lnTo>
                  <a:lnTo>
                    <a:pt x="26" y="90"/>
                  </a:lnTo>
                  <a:lnTo>
                    <a:pt x="26" y="90"/>
                  </a:lnTo>
                  <a:lnTo>
                    <a:pt x="18" y="80"/>
                  </a:lnTo>
                  <a:lnTo>
                    <a:pt x="12" y="70"/>
                  </a:lnTo>
                  <a:lnTo>
                    <a:pt x="8" y="58"/>
                  </a:lnTo>
                  <a:lnTo>
                    <a:pt x="8" y="46"/>
                  </a:lnTo>
                  <a:lnTo>
                    <a:pt x="8" y="46"/>
                  </a:lnTo>
                  <a:lnTo>
                    <a:pt x="8" y="36"/>
                  </a:lnTo>
                  <a:lnTo>
                    <a:pt x="12" y="24"/>
                  </a:lnTo>
                  <a:lnTo>
                    <a:pt x="16" y="16"/>
                  </a:lnTo>
                  <a:lnTo>
                    <a:pt x="24" y="6"/>
                  </a:lnTo>
                  <a:lnTo>
                    <a:pt x="24" y="6"/>
                  </a:lnTo>
                  <a:lnTo>
                    <a:pt x="24" y="4"/>
                  </a:lnTo>
                  <a:lnTo>
                    <a:pt x="24" y="0"/>
                  </a:lnTo>
                  <a:lnTo>
                    <a:pt x="24" y="0"/>
                  </a:lnTo>
                  <a:lnTo>
                    <a:pt x="20" y="0"/>
                  </a:lnTo>
                  <a:lnTo>
                    <a:pt x="18" y="0"/>
                  </a:lnTo>
                  <a:lnTo>
                    <a:pt x="18" y="0"/>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Arial" panose="020B0604020202020204" pitchFamily="34" charset="0"/>
                <a:ea typeface="微软雅黑" pitchFamily="34" charset="-122"/>
              </a:endParaRPr>
            </a:p>
          </p:txBody>
        </p:sp>
        <p:sp>
          <p:nvSpPr>
            <p:cNvPr id="54" name="Freeform 36"/>
            <p:cNvSpPr>
              <a:spLocks/>
            </p:cNvSpPr>
            <p:nvPr/>
          </p:nvSpPr>
          <p:spPr bwMode="auto">
            <a:xfrm>
              <a:off x="14694364" y="-578655"/>
              <a:ext cx="82274" cy="259481"/>
            </a:xfrm>
            <a:custGeom>
              <a:avLst/>
              <a:gdLst/>
              <a:ahLst/>
              <a:cxnLst>
                <a:cxn ang="0">
                  <a:pos x="16" y="0"/>
                </a:cxn>
                <a:cxn ang="0">
                  <a:pos x="16" y="0"/>
                </a:cxn>
                <a:cxn ang="0">
                  <a:pos x="8" y="8"/>
                </a:cxn>
                <a:cxn ang="0">
                  <a:pos x="4" y="18"/>
                </a:cxn>
                <a:cxn ang="0">
                  <a:pos x="2" y="28"/>
                </a:cxn>
                <a:cxn ang="0">
                  <a:pos x="0" y="38"/>
                </a:cxn>
                <a:cxn ang="0">
                  <a:pos x="0" y="38"/>
                </a:cxn>
                <a:cxn ang="0">
                  <a:pos x="2" y="50"/>
                </a:cxn>
                <a:cxn ang="0">
                  <a:pos x="4" y="60"/>
                </a:cxn>
                <a:cxn ang="0">
                  <a:pos x="10" y="72"/>
                </a:cxn>
                <a:cxn ang="0">
                  <a:pos x="18" y="80"/>
                </a:cxn>
                <a:cxn ang="0">
                  <a:pos x="18" y="80"/>
                </a:cxn>
                <a:cxn ang="0">
                  <a:pos x="22" y="82"/>
                </a:cxn>
                <a:cxn ang="0">
                  <a:pos x="24" y="80"/>
                </a:cxn>
                <a:cxn ang="0">
                  <a:pos x="24" y="80"/>
                </a:cxn>
                <a:cxn ang="0">
                  <a:pos x="26" y="78"/>
                </a:cxn>
                <a:cxn ang="0">
                  <a:pos x="24" y="74"/>
                </a:cxn>
                <a:cxn ang="0">
                  <a:pos x="24" y="74"/>
                </a:cxn>
                <a:cxn ang="0">
                  <a:pos x="18" y="66"/>
                </a:cxn>
                <a:cxn ang="0">
                  <a:pos x="12" y="58"/>
                </a:cxn>
                <a:cxn ang="0">
                  <a:pos x="10" y="48"/>
                </a:cxn>
                <a:cxn ang="0">
                  <a:pos x="8" y="38"/>
                </a:cxn>
                <a:cxn ang="0">
                  <a:pos x="8" y="38"/>
                </a:cxn>
                <a:cxn ang="0">
                  <a:pos x="10" y="30"/>
                </a:cxn>
                <a:cxn ang="0">
                  <a:pos x="12" y="22"/>
                </a:cxn>
                <a:cxn ang="0">
                  <a:pos x="16" y="14"/>
                </a:cxn>
                <a:cxn ang="0">
                  <a:pos x="22" y="6"/>
                </a:cxn>
                <a:cxn ang="0">
                  <a:pos x="22" y="6"/>
                </a:cxn>
                <a:cxn ang="0">
                  <a:pos x="22" y="4"/>
                </a:cxn>
                <a:cxn ang="0">
                  <a:pos x="22" y="0"/>
                </a:cxn>
                <a:cxn ang="0">
                  <a:pos x="22" y="0"/>
                </a:cxn>
                <a:cxn ang="0">
                  <a:pos x="18" y="0"/>
                </a:cxn>
                <a:cxn ang="0">
                  <a:pos x="16" y="0"/>
                </a:cxn>
                <a:cxn ang="0">
                  <a:pos x="16" y="0"/>
                </a:cxn>
              </a:cxnLst>
              <a:rect l="0" t="0" r="r" b="b"/>
              <a:pathLst>
                <a:path w="26" h="82">
                  <a:moveTo>
                    <a:pt x="16" y="0"/>
                  </a:moveTo>
                  <a:lnTo>
                    <a:pt x="16" y="0"/>
                  </a:lnTo>
                  <a:lnTo>
                    <a:pt x="8" y="8"/>
                  </a:lnTo>
                  <a:lnTo>
                    <a:pt x="4" y="18"/>
                  </a:lnTo>
                  <a:lnTo>
                    <a:pt x="2" y="28"/>
                  </a:lnTo>
                  <a:lnTo>
                    <a:pt x="0" y="38"/>
                  </a:lnTo>
                  <a:lnTo>
                    <a:pt x="0" y="38"/>
                  </a:lnTo>
                  <a:lnTo>
                    <a:pt x="2" y="50"/>
                  </a:lnTo>
                  <a:lnTo>
                    <a:pt x="4" y="60"/>
                  </a:lnTo>
                  <a:lnTo>
                    <a:pt x="10" y="72"/>
                  </a:lnTo>
                  <a:lnTo>
                    <a:pt x="18" y="80"/>
                  </a:lnTo>
                  <a:lnTo>
                    <a:pt x="18" y="80"/>
                  </a:lnTo>
                  <a:lnTo>
                    <a:pt x="22" y="82"/>
                  </a:lnTo>
                  <a:lnTo>
                    <a:pt x="24" y="80"/>
                  </a:lnTo>
                  <a:lnTo>
                    <a:pt x="24" y="80"/>
                  </a:lnTo>
                  <a:lnTo>
                    <a:pt x="26" y="78"/>
                  </a:lnTo>
                  <a:lnTo>
                    <a:pt x="24" y="74"/>
                  </a:lnTo>
                  <a:lnTo>
                    <a:pt x="24" y="74"/>
                  </a:lnTo>
                  <a:lnTo>
                    <a:pt x="18" y="66"/>
                  </a:lnTo>
                  <a:lnTo>
                    <a:pt x="12" y="58"/>
                  </a:lnTo>
                  <a:lnTo>
                    <a:pt x="10" y="48"/>
                  </a:lnTo>
                  <a:lnTo>
                    <a:pt x="8" y="38"/>
                  </a:lnTo>
                  <a:lnTo>
                    <a:pt x="8" y="38"/>
                  </a:lnTo>
                  <a:lnTo>
                    <a:pt x="10" y="30"/>
                  </a:lnTo>
                  <a:lnTo>
                    <a:pt x="12" y="22"/>
                  </a:lnTo>
                  <a:lnTo>
                    <a:pt x="16" y="14"/>
                  </a:lnTo>
                  <a:lnTo>
                    <a:pt x="22" y="6"/>
                  </a:lnTo>
                  <a:lnTo>
                    <a:pt x="22" y="6"/>
                  </a:lnTo>
                  <a:lnTo>
                    <a:pt x="22" y="4"/>
                  </a:lnTo>
                  <a:lnTo>
                    <a:pt x="22" y="0"/>
                  </a:lnTo>
                  <a:lnTo>
                    <a:pt x="22" y="0"/>
                  </a:lnTo>
                  <a:lnTo>
                    <a:pt x="18" y="0"/>
                  </a:lnTo>
                  <a:lnTo>
                    <a:pt x="16" y="0"/>
                  </a:lnTo>
                  <a:lnTo>
                    <a:pt x="16" y="0"/>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Arial" panose="020B0604020202020204" pitchFamily="34" charset="0"/>
                <a:ea typeface="微软雅黑" pitchFamily="34" charset="-122"/>
              </a:endParaRPr>
            </a:p>
          </p:txBody>
        </p:sp>
        <p:sp>
          <p:nvSpPr>
            <p:cNvPr id="55" name="Freeform 37"/>
            <p:cNvSpPr>
              <a:spLocks/>
            </p:cNvSpPr>
            <p:nvPr/>
          </p:nvSpPr>
          <p:spPr bwMode="auto">
            <a:xfrm>
              <a:off x="14776639" y="-559668"/>
              <a:ext cx="69617" cy="215179"/>
            </a:xfrm>
            <a:custGeom>
              <a:avLst/>
              <a:gdLst/>
              <a:ahLst/>
              <a:cxnLst>
                <a:cxn ang="0">
                  <a:pos x="12" y="2"/>
                </a:cxn>
                <a:cxn ang="0">
                  <a:pos x="12" y="2"/>
                </a:cxn>
                <a:cxn ang="0">
                  <a:pos x="6" y="8"/>
                </a:cxn>
                <a:cxn ang="0">
                  <a:pos x="2" y="16"/>
                </a:cxn>
                <a:cxn ang="0">
                  <a:pos x="0" y="24"/>
                </a:cxn>
                <a:cxn ang="0">
                  <a:pos x="0" y="32"/>
                </a:cxn>
                <a:cxn ang="0">
                  <a:pos x="0" y="32"/>
                </a:cxn>
                <a:cxn ang="0">
                  <a:pos x="0" y="42"/>
                </a:cxn>
                <a:cxn ang="0">
                  <a:pos x="4" y="50"/>
                </a:cxn>
                <a:cxn ang="0">
                  <a:pos x="8" y="60"/>
                </a:cxn>
                <a:cxn ang="0">
                  <a:pos x="14" y="68"/>
                </a:cxn>
                <a:cxn ang="0">
                  <a:pos x="14" y="68"/>
                </a:cxn>
                <a:cxn ang="0">
                  <a:pos x="18" y="68"/>
                </a:cxn>
                <a:cxn ang="0">
                  <a:pos x="20" y="68"/>
                </a:cxn>
                <a:cxn ang="0">
                  <a:pos x="20" y="68"/>
                </a:cxn>
                <a:cxn ang="0">
                  <a:pos x="22" y="64"/>
                </a:cxn>
                <a:cxn ang="0">
                  <a:pos x="20" y="62"/>
                </a:cxn>
                <a:cxn ang="0">
                  <a:pos x="20" y="62"/>
                </a:cxn>
                <a:cxn ang="0">
                  <a:pos x="14" y="54"/>
                </a:cxn>
                <a:cxn ang="0">
                  <a:pos x="12" y="48"/>
                </a:cxn>
                <a:cxn ang="0">
                  <a:pos x="8" y="40"/>
                </a:cxn>
                <a:cxn ang="0">
                  <a:pos x="8" y="32"/>
                </a:cxn>
                <a:cxn ang="0">
                  <a:pos x="8" y="32"/>
                </a:cxn>
                <a:cxn ang="0">
                  <a:pos x="8" y="26"/>
                </a:cxn>
                <a:cxn ang="0">
                  <a:pos x="10" y="20"/>
                </a:cxn>
                <a:cxn ang="0">
                  <a:pos x="14" y="14"/>
                </a:cxn>
                <a:cxn ang="0">
                  <a:pos x="18" y="8"/>
                </a:cxn>
                <a:cxn ang="0">
                  <a:pos x="18" y="8"/>
                </a:cxn>
                <a:cxn ang="0">
                  <a:pos x="20" y="4"/>
                </a:cxn>
                <a:cxn ang="0">
                  <a:pos x="18" y="2"/>
                </a:cxn>
                <a:cxn ang="0">
                  <a:pos x="18" y="2"/>
                </a:cxn>
                <a:cxn ang="0">
                  <a:pos x="16" y="0"/>
                </a:cxn>
                <a:cxn ang="0">
                  <a:pos x="12" y="2"/>
                </a:cxn>
                <a:cxn ang="0">
                  <a:pos x="12" y="2"/>
                </a:cxn>
              </a:cxnLst>
              <a:rect l="0" t="0" r="r" b="b"/>
              <a:pathLst>
                <a:path w="22" h="68">
                  <a:moveTo>
                    <a:pt x="12" y="2"/>
                  </a:moveTo>
                  <a:lnTo>
                    <a:pt x="12" y="2"/>
                  </a:lnTo>
                  <a:lnTo>
                    <a:pt x="6" y="8"/>
                  </a:lnTo>
                  <a:lnTo>
                    <a:pt x="2" y="16"/>
                  </a:lnTo>
                  <a:lnTo>
                    <a:pt x="0" y="24"/>
                  </a:lnTo>
                  <a:lnTo>
                    <a:pt x="0" y="32"/>
                  </a:lnTo>
                  <a:lnTo>
                    <a:pt x="0" y="32"/>
                  </a:lnTo>
                  <a:lnTo>
                    <a:pt x="0" y="42"/>
                  </a:lnTo>
                  <a:lnTo>
                    <a:pt x="4" y="50"/>
                  </a:lnTo>
                  <a:lnTo>
                    <a:pt x="8" y="60"/>
                  </a:lnTo>
                  <a:lnTo>
                    <a:pt x="14" y="68"/>
                  </a:lnTo>
                  <a:lnTo>
                    <a:pt x="14" y="68"/>
                  </a:lnTo>
                  <a:lnTo>
                    <a:pt x="18" y="68"/>
                  </a:lnTo>
                  <a:lnTo>
                    <a:pt x="20" y="68"/>
                  </a:lnTo>
                  <a:lnTo>
                    <a:pt x="20" y="68"/>
                  </a:lnTo>
                  <a:lnTo>
                    <a:pt x="22" y="64"/>
                  </a:lnTo>
                  <a:lnTo>
                    <a:pt x="20" y="62"/>
                  </a:lnTo>
                  <a:lnTo>
                    <a:pt x="20" y="62"/>
                  </a:lnTo>
                  <a:lnTo>
                    <a:pt x="14" y="54"/>
                  </a:lnTo>
                  <a:lnTo>
                    <a:pt x="12" y="48"/>
                  </a:lnTo>
                  <a:lnTo>
                    <a:pt x="8" y="40"/>
                  </a:lnTo>
                  <a:lnTo>
                    <a:pt x="8" y="32"/>
                  </a:lnTo>
                  <a:lnTo>
                    <a:pt x="8" y="32"/>
                  </a:lnTo>
                  <a:lnTo>
                    <a:pt x="8" y="26"/>
                  </a:lnTo>
                  <a:lnTo>
                    <a:pt x="10" y="20"/>
                  </a:lnTo>
                  <a:lnTo>
                    <a:pt x="14" y="14"/>
                  </a:lnTo>
                  <a:lnTo>
                    <a:pt x="18" y="8"/>
                  </a:lnTo>
                  <a:lnTo>
                    <a:pt x="18" y="8"/>
                  </a:lnTo>
                  <a:lnTo>
                    <a:pt x="20" y="4"/>
                  </a:lnTo>
                  <a:lnTo>
                    <a:pt x="18" y="2"/>
                  </a:lnTo>
                  <a:lnTo>
                    <a:pt x="18" y="2"/>
                  </a:lnTo>
                  <a:lnTo>
                    <a:pt x="16" y="0"/>
                  </a:lnTo>
                  <a:lnTo>
                    <a:pt x="12" y="2"/>
                  </a:lnTo>
                  <a:lnTo>
                    <a:pt x="12" y="2"/>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Arial" panose="020B0604020202020204" pitchFamily="34" charset="0"/>
                <a:ea typeface="微软雅黑" pitchFamily="34" charset="-122"/>
              </a:endParaRPr>
            </a:p>
          </p:txBody>
        </p:sp>
        <p:sp>
          <p:nvSpPr>
            <p:cNvPr id="56" name="Freeform 38"/>
            <p:cNvSpPr>
              <a:spLocks/>
            </p:cNvSpPr>
            <p:nvPr/>
          </p:nvSpPr>
          <p:spPr bwMode="auto">
            <a:xfrm>
              <a:off x="15042449" y="-793834"/>
              <a:ext cx="265810" cy="253152"/>
            </a:xfrm>
            <a:custGeom>
              <a:avLst/>
              <a:gdLst/>
              <a:ahLst/>
              <a:cxnLst>
                <a:cxn ang="0">
                  <a:pos x="84" y="76"/>
                </a:cxn>
                <a:cxn ang="0">
                  <a:pos x="84" y="76"/>
                </a:cxn>
                <a:cxn ang="0">
                  <a:pos x="84" y="60"/>
                </a:cxn>
                <a:cxn ang="0">
                  <a:pos x="78" y="46"/>
                </a:cxn>
                <a:cxn ang="0">
                  <a:pos x="72" y="34"/>
                </a:cxn>
                <a:cxn ang="0">
                  <a:pos x="62" y="24"/>
                </a:cxn>
                <a:cxn ang="0">
                  <a:pos x="62" y="24"/>
                </a:cxn>
                <a:cxn ang="0">
                  <a:pos x="50" y="14"/>
                </a:cxn>
                <a:cxn ang="0">
                  <a:pos x="36" y="6"/>
                </a:cxn>
                <a:cxn ang="0">
                  <a:pos x="22" y="2"/>
                </a:cxn>
                <a:cxn ang="0">
                  <a:pos x="4" y="0"/>
                </a:cxn>
                <a:cxn ang="0">
                  <a:pos x="4" y="0"/>
                </a:cxn>
                <a:cxn ang="0">
                  <a:pos x="2" y="0"/>
                </a:cxn>
                <a:cxn ang="0">
                  <a:pos x="0" y="4"/>
                </a:cxn>
                <a:cxn ang="0">
                  <a:pos x="0" y="4"/>
                </a:cxn>
                <a:cxn ang="0">
                  <a:pos x="2" y="6"/>
                </a:cxn>
                <a:cxn ang="0">
                  <a:pos x="4" y="8"/>
                </a:cxn>
                <a:cxn ang="0">
                  <a:pos x="4" y="8"/>
                </a:cxn>
                <a:cxn ang="0">
                  <a:pos x="20" y="10"/>
                </a:cxn>
                <a:cxn ang="0">
                  <a:pos x="34" y="14"/>
                </a:cxn>
                <a:cxn ang="0">
                  <a:pos x="46" y="20"/>
                </a:cxn>
                <a:cxn ang="0">
                  <a:pos x="58" y="30"/>
                </a:cxn>
                <a:cxn ang="0">
                  <a:pos x="58" y="30"/>
                </a:cxn>
                <a:cxn ang="0">
                  <a:pos x="66" y="40"/>
                </a:cxn>
                <a:cxn ang="0">
                  <a:pos x="72" y="50"/>
                </a:cxn>
                <a:cxn ang="0">
                  <a:pos x="74" y="62"/>
                </a:cxn>
                <a:cxn ang="0">
                  <a:pos x="76" y="76"/>
                </a:cxn>
                <a:cxn ang="0">
                  <a:pos x="76" y="76"/>
                </a:cxn>
                <a:cxn ang="0">
                  <a:pos x="78" y="78"/>
                </a:cxn>
                <a:cxn ang="0">
                  <a:pos x="80" y="80"/>
                </a:cxn>
                <a:cxn ang="0">
                  <a:pos x="80" y="80"/>
                </a:cxn>
                <a:cxn ang="0">
                  <a:pos x="84" y="78"/>
                </a:cxn>
                <a:cxn ang="0">
                  <a:pos x="84" y="76"/>
                </a:cxn>
                <a:cxn ang="0">
                  <a:pos x="84" y="76"/>
                </a:cxn>
              </a:cxnLst>
              <a:rect l="0" t="0" r="r" b="b"/>
              <a:pathLst>
                <a:path w="84" h="80">
                  <a:moveTo>
                    <a:pt x="84" y="76"/>
                  </a:moveTo>
                  <a:lnTo>
                    <a:pt x="84" y="76"/>
                  </a:lnTo>
                  <a:lnTo>
                    <a:pt x="84" y="60"/>
                  </a:lnTo>
                  <a:lnTo>
                    <a:pt x="78" y="46"/>
                  </a:lnTo>
                  <a:lnTo>
                    <a:pt x="72" y="34"/>
                  </a:lnTo>
                  <a:lnTo>
                    <a:pt x="62" y="24"/>
                  </a:lnTo>
                  <a:lnTo>
                    <a:pt x="62" y="24"/>
                  </a:lnTo>
                  <a:lnTo>
                    <a:pt x="50" y="14"/>
                  </a:lnTo>
                  <a:lnTo>
                    <a:pt x="36" y="6"/>
                  </a:lnTo>
                  <a:lnTo>
                    <a:pt x="22" y="2"/>
                  </a:lnTo>
                  <a:lnTo>
                    <a:pt x="4" y="0"/>
                  </a:lnTo>
                  <a:lnTo>
                    <a:pt x="4" y="0"/>
                  </a:lnTo>
                  <a:lnTo>
                    <a:pt x="2" y="0"/>
                  </a:lnTo>
                  <a:lnTo>
                    <a:pt x="0" y="4"/>
                  </a:lnTo>
                  <a:lnTo>
                    <a:pt x="0" y="4"/>
                  </a:lnTo>
                  <a:lnTo>
                    <a:pt x="2" y="6"/>
                  </a:lnTo>
                  <a:lnTo>
                    <a:pt x="4" y="8"/>
                  </a:lnTo>
                  <a:lnTo>
                    <a:pt x="4" y="8"/>
                  </a:lnTo>
                  <a:lnTo>
                    <a:pt x="20" y="10"/>
                  </a:lnTo>
                  <a:lnTo>
                    <a:pt x="34" y="14"/>
                  </a:lnTo>
                  <a:lnTo>
                    <a:pt x="46" y="20"/>
                  </a:lnTo>
                  <a:lnTo>
                    <a:pt x="58" y="30"/>
                  </a:lnTo>
                  <a:lnTo>
                    <a:pt x="58" y="30"/>
                  </a:lnTo>
                  <a:lnTo>
                    <a:pt x="66" y="40"/>
                  </a:lnTo>
                  <a:lnTo>
                    <a:pt x="72" y="50"/>
                  </a:lnTo>
                  <a:lnTo>
                    <a:pt x="74" y="62"/>
                  </a:lnTo>
                  <a:lnTo>
                    <a:pt x="76" y="76"/>
                  </a:lnTo>
                  <a:lnTo>
                    <a:pt x="76" y="76"/>
                  </a:lnTo>
                  <a:lnTo>
                    <a:pt x="78" y="78"/>
                  </a:lnTo>
                  <a:lnTo>
                    <a:pt x="80" y="80"/>
                  </a:lnTo>
                  <a:lnTo>
                    <a:pt x="80" y="80"/>
                  </a:lnTo>
                  <a:lnTo>
                    <a:pt x="84" y="78"/>
                  </a:lnTo>
                  <a:lnTo>
                    <a:pt x="84" y="76"/>
                  </a:lnTo>
                  <a:lnTo>
                    <a:pt x="84" y="76"/>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Arial" panose="020B0604020202020204" pitchFamily="34" charset="0"/>
                <a:ea typeface="微软雅黑" pitchFamily="34" charset="-122"/>
              </a:endParaRPr>
            </a:p>
          </p:txBody>
        </p:sp>
        <p:sp>
          <p:nvSpPr>
            <p:cNvPr id="57" name="Freeform 39"/>
            <p:cNvSpPr>
              <a:spLocks/>
            </p:cNvSpPr>
            <p:nvPr/>
          </p:nvSpPr>
          <p:spPr bwMode="auto">
            <a:xfrm>
              <a:off x="15010805" y="-730546"/>
              <a:ext cx="234166" cy="221508"/>
            </a:xfrm>
            <a:custGeom>
              <a:avLst/>
              <a:gdLst/>
              <a:ahLst/>
              <a:cxnLst>
                <a:cxn ang="0">
                  <a:pos x="74" y="66"/>
                </a:cxn>
                <a:cxn ang="0">
                  <a:pos x="74" y="66"/>
                </a:cxn>
                <a:cxn ang="0">
                  <a:pos x="72" y="52"/>
                </a:cxn>
                <a:cxn ang="0">
                  <a:pos x="68" y="42"/>
                </a:cxn>
                <a:cxn ang="0">
                  <a:pos x="62" y="30"/>
                </a:cxn>
                <a:cxn ang="0">
                  <a:pos x="54" y="20"/>
                </a:cxn>
                <a:cxn ang="0">
                  <a:pos x="54" y="20"/>
                </a:cxn>
                <a:cxn ang="0">
                  <a:pos x="44" y="12"/>
                </a:cxn>
                <a:cxn ang="0">
                  <a:pos x="32" y="6"/>
                </a:cxn>
                <a:cxn ang="0">
                  <a:pos x="18" y="2"/>
                </a:cxn>
                <a:cxn ang="0">
                  <a:pos x="4" y="0"/>
                </a:cxn>
                <a:cxn ang="0">
                  <a:pos x="4" y="0"/>
                </a:cxn>
                <a:cxn ang="0">
                  <a:pos x="2" y="2"/>
                </a:cxn>
                <a:cxn ang="0">
                  <a:pos x="0" y="4"/>
                </a:cxn>
                <a:cxn ang="0">
                  <a:pos x="0" y="4"/>
                </a:cxn>
                <a:cxn ang="0">
                  <a:pos x="2" y="8"/>
                </a:cxn>
                <a:cxn ang="0">
                  <a:pos x="4" y="8"/>
                </a:cxn>
                <a:cxn ang="0">
                  <a:pos x="4" y="8"/>
                </a:cxn>
                <a:cxn ang="0">
                  <a:pos x="16" y="10"/>
                </a:cxn>
                <a:cxn ang="0">
                  <a:pos x="28" y="14"/>
                </a:cxn>
                <a:cxn ang="0">
                  <a:pos x="40" y="20"/>
                </a:cxn>
                <a:cxn ang="0">
                  <a:pos x="48" y="26"/>
                </a:cxn>
                <a:cxn ang="0">
                  <a:pos x="48" y="26"/>
                </a:cxn>
                <a:cxn ang="0">
                  <a:pos x="56" y="36"/>
                </a:cxn>
                <a:cxn ang="0">
                  <a:pos x="60" y="44"/>
                </a:cxn>
                <a:cxn ang="0">
                  <a:pos x="64" y="54"/>
                </a:cxn>
                <a:cxn ang="0">
                  <a:pos x="66" y="66"/>
                </a:cxn>
                <a:cxn ang="0">
                  <a:pos x="66" y="66"/>
                </a:cxn>
                <a:cxn ang="0">
                  <a:pos x="66" y="68"/>
                </a:cxn>
                <a:cxn ang="0">
                  <a:pos x="70" y="70"/>
                </a:cxn>
                <a:cxn ang="0">
                  <a:pos x="70" y="70"/>
                </a:cxn>
                <a:cxn ang="0">
                  <a:pos x="72" y="68"/>
                </a:cxn>
                <a:cxn ang="0">
                  <a:pos x="74" y="66"/>
                </a:cxn>
                <a:cxn ang="0">
                  <a:pos x="74" y="66"/>
                </a:cxn>
              </a:cxnLst>
              <a:rect l="0" t="0" r="r" b="b"/>
              <a:pathLst>
                <a:path w="74" h="70">
                  <a:moveTo>
                    <a:pt x="74" y="66"/>
                  </a:moveTo>
                  <a:lnTo>
                    <a:pt x="74" y="66"/>
                  </a:lnTo>
                  <a:lnTo>
                    <a:pt x="72" y="52"/>
                  </a:lnTo>
                  <a:lnTo>
                    <a:pt x="68" y="42"/>
                  </a:lnTo>
                  <a:lnTo>
                    <a:pt x="62" y="30"/>
                  </a:lnTo>
                  <a:lnTo>
                    <a:pt x="54" y="20"/>
                  </a:lnTo>
                  <a:lnTo>
                    <a:pt x="54" y="20"/>
                  </a:lnTo>
                  <a:lnTo>
                    <a:pt x="44" y="12"/>
                  </a:lnTo>
                  <a:lnTo>
                    <a:pt x="32" y="6"/>
                  </a:lnTo>
                  <a:lnTo>
                    <a:pt x="18" y="2"/>
                  </a:lnTo>
                  <a:lnTo>
                    <a:pt x="4" y="0"/>
                  </a:lnTo>
                  <a:lnTo>
                    <a:pt x="4" y="0"/>
                  </a:lnTo>
                  <a:lnTo>
                    <a:pt x="2" y="2"/>
                  </a:lnTo>
                  <a:lnTo>
                    <a:pt x="0" y="4"/>
                  </a:lnTo>
                  <a:lnTo>
                    <a:pt x="0" y="4"/>
                  </a:lnTo>
                  <a:lnTo>
                    <a:pt x="2" y="8"/>
                  </a:lnTo>
                  <a:lnTo>
                    <a:pt x="4" y="8"/>
                  </a:lnTo>
                  <a:lnTo>
                    <a:pt x="4" y="8"/>
                  </a:lnTo>
                  <a:lnTo>
                    <a:pt x="16" y="10"/>
                  </a:lnTo>
                  <a:lnTo>
                    <a:pt x="28" y="14"/>
                  </a:lnTo>
                  <a:lnTo>
                    <a:pt x="40" y="20"/>
                  </a:lnTo>
                  <a:lnTo>
                    <a:pt x="48" y="26"/>
                  </a:lnTo>
                  <a:lnTo>
                    <a:pt x="48" y="26"/>
                  </a:lnTo>
                  <a:lnTo>
                    <a:pt x="56" y="36"/>
                  </a:lnTo>
                  <a:lnTo>
                    <a:pt x="60" y="44"/>
                  </a:lnTo>
                  <a:lnTo>
                    <a:pt x="64" y="54"/>
                  </a:lnTo>
                  <a:lnTo>
                    <a:pt x="66" y="66"/>
                  </a:lnTo>
                  <a:lnTo>
                    <a:pt x="66" y="66"/>
                  </a:lnTo>
                  <a:lnTo>
                    <a:pt x="66" y="68"/>
                  </a:lnTo>
                  <a:lnTo>
                    <a:pt x="70" y="70"/>
                  </a:lnTo>
                  <a:lnTo>
                    <a:pt x="70" y="70"/>
                  </a:lnTo>
                  <a:lnTo>
                    <a:pt x="72" y="68"/>
                  </a:lnTo>
                  <a:lnTo>
                    <a:pt x="74" y="66"/>
                  </a:lnTo>
                  <a:lnTo>
                    <a:pt x="74" y="66"/>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Arial" panose="020B0604020202020204" pitchFamily="34" charset="0"/>
                <a:ea typeface="微软雅黑" pitchFamily="34" charset="-122"/>
              </a:endParaRPr>
            </a:p>
          </p:txBody>
        </p:sp>
        <p:sp>
          <p:nvSpPr>
            <p:cNvPr id="58" name="Freeform 40"/>
            <p:cNvSpPr>
              <a:spLocks/>
            </p:cNvSpPr>
            <p:nvPr/>
          </p:nvSpPr>
          <p:spPr bwMode="auto">
            <a:xfrm>
              <a:off x="14979161" y="-660929"/>
              <a:ext cx="196193" cy="183535"/>
            </a:xfrm>
            <a:custGeom>
              <a:avLst/>
              <a:gdLst/>
              <a:ahLst/>
              <a:cxnLst>
                <a:cxn ang="0">
                  <a:pos x="62" y="54"/>
                </a:cxn>
                <a:cxn ang="0">
                  <a:pos x="62" y="54"/>
                </a:cxn>
                <a:cxn ang="0">
                  <a:pos x="62" y="44"/>
                </a:cxn>
                <a:cxn ang="0">
                  <a:pos x="58" y="34"/>
                </a:cxn>
                <a:cxn ang="0">
                  <a:pos x="54" y="24"/>
                </a:cxn>
                <a:cxn ang="0">
                  <a:pos x="46" y="16"/>
                </a:cxn>
                <a:cxn ang="0">
                  <a:pos x="46" y="16"/>
                </a:cxn>
                <a:cxn ang="0">
                  <a:pos x="38" y="10"/>
                </a:cxn>
                <a:cxn ang="0">
                  <a:pos x="28" y="4"/>
                </a:cxn>
                <a:cxn ang="0">
                  <a:pos x="16" y="0"/>
                </a:cxn>
                <a:cxn ang="0">
                  <a:pos x="4" y="0"/>
                </a:cxn>
                <a:cxn ang="0">
                  <a:pos x="4" y="0"/>
                </a:cxn>
                <a:cxn ang="0">
                  <a:pos x="0" y="0"/>
                </a:cxn>
                <a:cxn ang="0">
                  <a:pos x="0" y="4"/>
                </a:cxn>
                <a:cxn ang="0">
                  <a:pos x="0" y="4"/>
                </a:cxn>
                <a:cxn ang="0">
                  <a:pos x="0" y="6"/>
                </a:cxn>
                <a:cxn ang="0">
                  <a:pos x="4" y="8"/>
                </a:cxn>
                <a:cxn ang="0">
                  <a:pos x="4" y="8"/>
                </a:cxn>
                <a:cxn ang="0">
                  <a:pos x="14" y="8"/>
                </a:cxn>
                <a:cxn ang="0">
                  <a:pos x="24" y="12"/>
                </a:cxn>
                <a:cxn ang="0">
                  <a:pos x="34" y="16"/>
                </a:cxn>
                <a:cxn ang="0">
                  <a:pos x="40" y="22"/>
                </a:cxn>
                <a:cxn ang="0">
                  <a:pos x="40" y="22"/>
                </a:cxn>
                <a:cxn ang="0">
                  <a:pos x="46" y="30"/>
                </a:cxn>
                <a:cxn ang="0">
                  <a:pos x="50" y="36"/>
                </a:cxn>
                <a:cxn ang="0">
                  <a:pos x="54" y="46"/>
                </a:cxn>
                <a:cxn ang="0">
                  <a:pos x="54" y="54"/>
                </a:cxn>
                <a:cxn ang="0">
                  <a:pos x="54" y="54"/>
                </a:cxn>
                <a:cxn ang="0">
                  <a:pos x="56" y="58"/>
                </a:cxn>
                <a:cxn ang="0">
                  <a:pos x="58" y="58"/>
                </a:cxn>
                <a:cxn ang="0">
                  <a:pos x="58" y="58"/>
                </a:cxn>
                <a:cxn ang="0">
                  <a:pos x="62" y="58"/>
                </a:cxn>
                <a:cxn ang="0">
                  <a:pos x="62" y="54"/>
                </a:cxn>
                <a:cxn ang="0">
                  <a:pos x="62" y="54"/>
                </a:cxn>
              </a:cxnLst>
              <a:rect l="0" t="0" r="r" b="b"/>
              <a:pathLst>
                <a:path w="62" h="58">
                  <a:moveTo>
                    <a:pt x="62" y="54"/>
                  </a:moveTo>
                  <a:lnTo>
                    <a:pt x="62" y="54"/>
                  </a:lnTo>
                  <a:lnTo>
                    <a:pt x="62" y="44"/>
                  </a:lnTo>
                  <a:lnTo>
                    <a:pt x="58" y="34"/>
                  </a:lnTo>
                  <a:lnTo>
                    <a:pt x="54" y="24"/>
                  </a:lnTo>
                  <a:lnTo>
                    <a:pt x="46" y="16"/>
                  </a:lnTo>
                  <a:lnTo>
                    <a:pt x="46" y="16"/>
                  </a:lnTo>
                  <a:lnTo>
                    <a:pt x="38" y="10"/>
                  </a:lnTo>
                  <a:lnTo>
                    <a:pt x="28" y="4"/>
                  </a:lnTo>
                  <a:lnTo>
                    <a:pt x="16" y="0"/>
                  </a:lnTo>
                  <a:lnTo>
                    <a:pt x="4" y="0"/>
                  </a:lnTo>
                  <a:lnTo>
                    <a:pt x="4" y="0"/>
                  </a:lnTo>
                  <a:lnTo>
                    <a:pt x="0" y="0"/>
                  </a:lnTo>
                  <a:lnTo>
                    <a:pt x="0" y="4"/>
                  </a:lnTo>
                  <a:lnTo>
                    <a:pt x="0" y="4"/>
                  </a:lnTo>
                  <a:lnTo>
                    <a:pt x="0" y="6"/>
                  </a:lnTo>
                  <a:lnTo>
                    <a:pt x="4" y="8"/>
                  </a:lnTo>
                  <a:lnTo>
                    <a:pt x="4" y="8"/>
                  </a:lnTo>
                  <a:lnTo>
                    <a:pt x="14" y="8"/>
                  </a:lnTo>
                  <a:lnTo>
                    <a:pt x="24" y="12"/>
                  </a:lnTo>
                  <a:lnTo>
                    <a:pt x="34" y="16"/>
                  </a:lnTo>
                  <a:lnTo>
                    <a:pt x="40" y="22"/>
                  </a:lnTo>
                  <a:lnTo>
                    <a:pt x="40" y="22"/>
                  </a:lnTo>
                  <a:lnTo>
                    <a:pt x="46" y="30"/>
                  </a:lnTo>
                  <a:lnTo>
                    <a:pt x="50" y="36"/>
                  </a:lnTo>
                  <a:lnTo>
                    <a:pt x="54" y="46"/>
                  </a:lnTo>
                  <a:lnTo>
                    <a:pt x="54" y="54"/>
                  </a:lnTo>
                  <a:lnTo>
                    <a:pt x="54" y="54"/>
                  </a:lnTo>
                  <a:lnTo>
                    <a:pt x="56" y="58"/>
                  </a:lnTo>
                  <a:lnTo>
                    <a:pt x="58" y="58"/>
                  </a:lnTo>
                  <a:lnTo>
                    <a:pt x="58" y="58"/>
                  </a:lnTo>
                  <a:lnTo>
                    <a:pt x="62" y="58"/>
                  </a:lnTo>
                  <a:lnTo>
                    <a:pt x="62" y="54"/>
                  </a:lnTo>
                  <a:lnTo>
                    <a:pt x="62" y="54"/>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Arial" panose="020B0604020202020204" pitchFamily="34" charset="0"/>
                <a:ea typeface="微软雅黑" pitchFamily="34" charset="-122"/>
              </a:endParaRPr>
            </a:p>
          </p:txBody>
        </p:sp>
        <p:sp>
          <p:nvSpPr>
            <p:cNvPr id="59" name="Freeform 41"/>
            <p:cNvSpPr>
              <a:spLocks/>
            </p:cNvSpPr>
            <p:nvPr/>
          </p:nvSpPr>
          <p:spPr bwMode="auto">
            <a:xfrm>
              <a:off x="14947517" y="-597641"/>
              <a:ext cx="164549" cy="151891"/>
            </a:xfrm>
            <a:custGeom>
              <a:avLst/>
              <a:gdLst/>
              <a:ahLst/>
              <a:cxnLst>
                <a:cxn ang="0">
                  <a:pos x="52" y="44"/>
                </a:cxn>
                <a:cxn ang="0">
                  <a:pos x="52" y="44"/>
                </a:cxn>
                <a:cxn ang="0">
                  <a:pos x="50" y="36"/>
                </a:cxn>
                <a:cxn ang="0">
                  <a:pos x="48" y="28"/>
                </a:cxn>
                <a:cxn ang="0">
                  <a:pos x="44" y="20"/>
                </a:cxn>
                <a:cxn ang="0">
                  <a:pos x="38" y="14"/>
                </a:cxn>
                <a:cxn ang="0">
                  <a:pos x="38" y="14"/>
                </a:cxn>
                <a:cxn ang="0">
                  <a:pos x="32" y="8"/>
                </a:cxn>
                <a:cxn ang="0">
                  <a:pos x="22" y="4"/>
                </a:cxn>
                <a:cxn ang="0">
                  <a:pos x="14" y="0"/>
                </a:cxn>
                <a:cxn ang="0">
                  <a:pos x="4" y="0"/>
                </a:cxn>
                <a:cxn ang="0">
                  <a:pos x="4" y="0"/>
                </a:cxn>
                <a:cxn ang="0">
                  <a:pos x="0" y="2"/>
                </a:cxn>
                <a:cxn ang="0">
                  <a:pos x="0" y="4"/>
                </a:cxn>
                <a:cxn ang="0">
                  <a:pos x="0" y="4"/>
                </a:cxn>
                <a:cxn ang="0">
                  <a:pos x="0" y="8"/>
                </a:cxn>
                <a:cxn ang="0">
                  <a:pos x="4" y="8"/>
                </a:cxn>
                <a:cxn ang="0">
                  <a:pos x="4" y="8"/>
                </a:cxn>
                <a:cxn ang="0">
                  <a:pos x="12" y="10"/>
                </a:cxn>
                <a:cxn ang="0">
                  <a:pos x="20" y="12"/>
                </a:cxn>
                <a:cxn ang="0">
                  <a:pos x="26" y="16"/>
                </a:cxn>
                <a:cxn ang="0">
                  <a:pos x="32" y="20"/>
                </a:cxn>
                <a:cxn ang="0">
                  <a:pos x="32" y="20"/>
                </a:cxn>
                <a:cxn ang="0">
                  <a:pos x="36" y="26"/>
                </a:cxn>
                <a:cxn ang="0">
                  <a:pos x="40" y="32"/>
                </a:cxn>
                <a:cxn ang="0">
                  <a:pos x="42" y="38"/>
                </a:cxn>
                <a:cxn ang="0">
                  <a:pos x="42" y="44"/>
                </a:cxn>
                <a:cxn ang="0">
                  <a:pos x="42" y="44"/>
                </a:cxn>
                <a:cxn ang="0">
                  <a:pos x="44" y="48"/>
                </a:cxn>
                <a:cxn ang="0">
                  <a:pos x="48" y="48"/>
                </a:cxn>
                <a:cxn ang="0">
                  <a:pos x="48" y="48"/>
                </a:cxn>
                <a:cxn ang="0">
                  <a:pos x="50" y="48"/>
                </a:cxn>
                <a:cxn ang="0">
                  <a:pos x="52" y="44"/>
                </a:cxn>
                <a:cxn ang="0">
                  <a:pos x="52" y="44"/>
                </a:cxn>
              </a:cxnLst>
              <a:rect l="0" t="0" r="r" b="b"/>
              <a:pathLst>
                <a:path w="52" h="48">
                  <a:moveTo>
                    <a:pt x="52" y="44"/>
                  </a:moveTo>
                  <a:lnTo>
                    <a:pt x="52" y="44"/>
                  </a:lnTo>
                  <a:lnTo>
                    <a:pt x="50" y="36"/>
                  </a:lnTo>
                  <a:lnTo>
                    <a:pt x="48" y="28"/>
                  </a:lnTo>
                  <a:lnTo>
                    <a:pt x="44" y="20"/>
                  </a:lnTo>
                  <a:lnTo>
                    <a:pt x="38" y="14"/>
                  </a:lnTo>
                  <a:lnTo>
                    <a:pt x="38" y="14"/>
                  </a:lnTo>
                  <a:lnTo>
                    <a:pt x="32" y="8"/>
                  </a:lnTo>
                  <a:lnTo>
                    <a:pt x="22" y="4"/>
                  </a:lnTo>
                  <a:lnTo>
                    <a:pt x="14" y="0"/>
                  </a:lnTo>
                  <a:lnTo>
                    <a:pt x="4" y="0"/>
                  </a:lnTo>
                  <a:lnTo>
                    <a:pt x="4" y="0"/>
                  </a:lnTo>
                  <a:lnTo>
                    <a:pt x="0" y="2"/>
                  </a:lnTo>
                  <a:lnTo>
                    <a:pt x="0" y="4"/>
                  </a:lnTo>
                  <a:lnTo>
                    <a:pt x="0" y="4"/>
                  </a:lnTo>
                  <a:lnTo>
                    <a:pt x="0" y="8"/>
                  </a:lnTo>
                  <a:lnTo>
                    <a:pt x="4" y="8"/>
                  </a:lnTo>
                  <a:lnTo>
                    <a:pt x="4" y="8"/>
                  </a:lnTo>
                  <a:lnTo>
                    <a:pt x="12" y="10"/>
                  </a:lnTo>
                  <a:lnTo>
                    <a:pt x="20" y="12"/>
                  </a:lnTo>
                  <a:lnTo>
                    <a:pt x="26" y="16"/>
                  </a:lnTo>
                  <a:lnTo>
                    <a:pt x="32" y="20"/>
                  </a:lnTo>
                  <a:lnTo>
                    <a:pt x="32" y="20"/>
                  </a:lnTo>
                  <a:lnTo>
                    <a:pt x="36" y="26"/>
                  </a:lnTo>
                  <a:lnTo>
                    <a:pt x="40" y="32"/>
                  </a:lnTo>
                  <a:lnTo>
                    <a:pt x="42" y="38"/>
                  </a:lnTo>
                  <a:lnTo>
                    <a:pt x="42" y="44"/>
                  </a:lnTo>
                  <a:lnTo>
                    <a:pt x="42" y="44"/>
                  </a:lnTo>
                  <a:lnTo>
                    <a:pt x="44" y="48"/>
                  </a:lnTo>
                  <a:lnTo>
                    <a:pt x="48" y="48"/>
                  </a:lnTo>
                  <a:lnTo>
                    <a:pt x="48" y="48"/>
                  </a:lnTo>
                  <a:lnTo>
                    <a:pt x="50" y="48"/>
                  </a:lnTo>
                  <a:lnTo>
                    <a:pt x="52" y="44"/>
                  </a:lnTo>
                  <a:lnTo>
                    <a:pt x="52" y="44"/>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Arial" panose="020B0604020202020204" pitchFamily="34" charset="0"/>
                <a:ea typeface="微软雅黑" pitchFamily="34" charset="-122"/>
              </a:endParaRPr>
            </a:p>
          </p:txBody>
        </p:sp>
      </p:grpSp>
      <p:sp>
        <p:nvSpPr>
          <p:cNvPr id="50" name="1957473732"/>
          <p:cNvSpPr txBox="1">
            <a:spLocks noChangeArrowheads="1"/>
          </p:cNvSpPr>
          <p:nvPr/>
        </p:nvSpPr>
        <p:spPr bwMode="auto">
          <a:xfrm>
            <a:off x="791374" y="4019901"/>
            <a:ext cx="697420" cy="328416"/>
          </a:xfrm>
          <a:prstGeom prst="rect">
            <a:avLst/>
          </a:prstGeom>
          <a:noFill/>
          <a:ln w="9525">
            <a:noFill/>
            <a:miter lim="800000"/>
            <a:headEnd/>
            <a:tailEnd/>
          </a:ln>
        </p:spPr>
        <p:txBody>
          <a:bodyPr wrap="square" lIns="78353" tIns="39176" rIns="78353" bIns="39176">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1218793">
              <a:lnSpc>
                <a:spcPct val="90000"/>
              </a:lnSpc>
            </a:pPr>
            <a:r>
              <a:rPr lang="en-US" altLang="zh-CN" sz="600" smtClean="0">
                <a:solidFill>
                  <a:srgbClr val="000000"/>
                </a:solidFill>
                <a:latin typeface="Arial" panose="020B0604020202020204" pitchFamily="34" charset="0"/>
                <a:ea typeface="微软雅黑" pitchFamily="34" charset="-122"/>
                <a:cs typeface="Arial" pitchFamily="34" charset="0"/>
              </a:rPr>
              <a:t>Tetra</a:t>
            </a:r>
            <a:r>
              <a:rPr lang="en-US" altLang="zh-CN" sz="600" smtClean="0">
                <a:solidFill>
                  <a:prstClr val="black"/>
                </a:solidFill>
                <a:latin typeface="Arial" panose="020B0604020202020204" pitchFamily="34" charset="0"/>
                <a:ea typeface="微软雅黑" pitchFamily="34" charset="-122"/>
                <a:cs typeface="Arial" pitchFamily="34" charset="0"/>
              </a:rPr>
              <a:t> </a:t>
            </a:r>
            <a:r>
              <a:rPr lang="en-US" altLang="zh-CN" sz="600" dirty="0" smtClean="0">
                <a:solidFill>
                  <a:prstClr val="black"/>
                </a:solidFill>
                <a:latin typeface="Arial" panose="020B0604020202020204" pitchFamily="34" charset="0"/>
                <a:ea typeface="微软雅黑" pitchFamily="34" charset="-122"/>
                <a:cs typeface="Arial" pitchFamily="34" charset="0"/>
              </a:rPr>
              <a:t>narrowband trunking</a:t>
            </a:r>
            <a:endParaRPr lang="zh-CN" altLang="en-US" sz="600" dirty="0">
              <a:solidFill>
                <a:prstClr val="black"/>
              </a:solidFill>
              <a:latin typeface="Arial" panose="020B0604020202020204" pitchFamily="34" charset="0"/>
              <a:ea typeface="微软雅黑" pitchFamily="34" charset="-122"/>
              <a:cs typeface="Arial" pitchFamily="34" charset="0"/>
            </a:endParaRPr>
          </a:p>
        </p:txBody>
      </p:sp>
      <p:grpSp>
        <p:nvGrpSpPr>
          <p:cNvPr id="32" name="2104410726"/>
          <p:cNvGrpSpPr/>
          <p:nvPr/>
        </p:nvGrpSpPr>
        <p:grpSpPr>
          <a:xfrm>
            <a:off x="2307060" y="3407587"/>
            <a:ext cx="569524" cy="918209"/>
            <a:chOff x="5185180" y="4667508"/>
            <a:chExt cx="1094363" cy="1453810"/>
          </a:xfrm>
        </p:grpSpPr>
        <p:sp>
          <p:nvSpPr>
            <p:cNvPr id="38" name="矩形 37"/>
            <p:cNvSpPr/>
            <p:nvPr/>
          </p:nvSpPr>
          <p:spPr>
            <a:xfrm>
              <a:off x="5185180" y="4667508"/>
              <a:ext cx="1080000" cy="1404000"/>
            </a:xfrm>
            <a:prstGeom prst="rect">
              <a:avLst/>
            </a:prstGeom>
            <a:gradFill flip="none" rotWithShape="1">
              <a:gsLst>
                <a:gs pos="0">
                  <a:srgbClr val="DCDFE3">
                    <a:alpha val="51000"/>
                  </a:srgb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793"/>
              <a:endParaRPr lang="zh-CN" altLang="en-US" sz="1200">
                <a:solidFill>
                  <a:prstClr val="white"/>
                </a:solidFill>
                <a:latin typeface="Arial" panose="020B0604020202020204" pitchFamily="34" charset="0"/>
                <a:ea typeface="微软雅黑" pitchFamily="34" charset="-122"/>
              </a:endParaRPr>
            </a:p>
          </p:txBody>
        </p:sp>
        <p:sp>
          <p:nvSpPr>
            <p:cNvPr id="39" name="Text Box 12"/>
            <p:cNvSpPr txBox="1">
              <a:spLocks noChangeArrowheads="1"/>
            </p:cNvSpPr>
            <p:nvPr/>
          </p:nvSpPr>
          <p:spPr bwMode="auto">
            <a:xfrm>
              <a:off x="5192330" y="5732905"/>
              <a:ext cx="1087213" cy="388413"/>
            </a:xfrm>
            <a:prstGeom prst="rect">
              <a:avLst/>
            </a:prstGeom>
            <a:noFill/>
            <a:ln w="9525">
              <a:noFill/>
              <a:miter lim="800000"/>
              <a:headEnd/>
              <a:tailEnd/>
            </a:ln>
          </p:spPr>
          <p:txBody>
            <a:bodyPr wrap="square" lIns="0" tIns="39176" rIns="0" bIns="39176">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783757" eaLnBrk="0" hangingPunct="0">
                <a:lnSpc>
                  <a:spcPct val="90000"/>
                </a:lnSpc>
                <a:buClr>
                  <a:srgbClr val="000000"/>
                </a:buClr>
                <a:buSzPct val="70000"/>
              </a:pPr>
              <a:r>
                <a:rPr lang="en-US" altLang="zh-CN" sz="600" dirty="0" smtClean="0">
                  <a:solidFill>
                    <a:prstClr val="black"/>
                  </a:solidFill>
                  <a:latin typeface="Arial" panose="020B0604020202020204" pitchFamily="34" charset="0"/>
                  <a:ea typeface="微软雅黑" pitchFamily="34" charset="-122"/>
                  <a:cs typeface="Arial" pitchFamily="34" charset="0"/>
                </a:rPr>
                <a:t>Conference terminal</a:t>
              </a:r>
              <a:endParaRPr lang="en-US" altLang="zh-CN" sz="600" dirty="0">
                <a:solidFill>
                  <a:prstClr val="black"/>
                </a:solidFill>
                <a:latin typeface="Arial" panose="020B0604020202020204" pitchFamily="34" charset="0"/>
                <a:ea typeface="微软雅黑" pitchFamily="34" charset="-122"/>
                <a:cs typeface="Arial" pitchFamily="34" charset="0"/>
              </a:endParaRPr>
            </a:p>
          </p:txBody>
        </p:sp>
        <p:pic>
          <p:nvPicPr>
            <p:cNvPr id="40" name="Picture 2"/>
            <p:cNvPicPr>
              <a:picLocks noChangeAspect="1" noChangeArrowheads="1"/>
            </p:cNvPicPr>
            <p:nvPr/>
          </p:nvPicPr>
          <p:blipFill>
            <a:blip r:embed="rId13" cstate="screen">
              <a:clrChange>
                <a:clrFrom>
                  <a:srgbClr val="FFFFFF"/>
                </a:clrFrom>
                <a:clrTo>
                  <a:srgbClr val="FFFFFF">
                    <a:alpha val="0"/>
                  </a:srgbClr>
                </a:clrTo>
              </a:clrChange>
            </a:blip>
            <a:srcRect/>
            <a:stretch>
              <a:fillRect/>
            </a:stretch>
          </p:blipFill>
          <p:spPr bwMode="auto">
            <a:xfrm>
              <a:off x="5714642" y="4909560"/>
              <a:ext cx="551473" cy="340994"/>
            </a:xfrm>
            <a:prstGeom prst="rect">
              <a:avLst/>
            </a:prstGeom>
            <a:noFill/>
            <a:ln w="9525">
              <a:noFill/>
              <a:miter lim="800000"/>
              <a:headEnd/>
              <a:tailEnd/>
            </a:ln>
            <a:effectLst/>
          </p:spPr>
        </p:pic>
        <p:pic>
          <p:nvPicPr>
            <p:cNvPr id="41" name="Picture 6"/>
            <p:cNvPicPr>
              <a:picLocks noChangeAspect="1" noChangeArrowheads="1"/>
            </p:cNvPicPr>
            <p:nvPr/>
          </p:nvPicPr>
          <p:blipFill>
            <a:blip r:embed="rId14" cstate="print"/>
            <a:srcRect/>
            <a:stretch>
              <a:fillRect/>
            </a:stretch>
          </p:blipFill>
          <p:spPr bwMode="auto">
            <a:xfrm>
              <a:off x="5372495" y="4890791"/>
              <a:ext cx="228337" cy="294842"/>
            </a:xfrm>
            <a:prstGeom prst="rect">
              <a:avLst/>
            </a:prstGeom>
            <a:noFill/>
            <a:ln w="9525">
              <a:noFill/>
              <a:miter lim="800000"/>
              <a:headEnd/>
              <a:tailEnd/>
            </a:ln>
            <a:effectLst/>
          </p:spPr>
        </p:pic>
        <p:grpSp>
          <p:nvGrpSpPr>
            <p:cNvPr id="42" name="组合 90"/>
            <p:cNvGrpSpPr/>
            <p:nvPr/>
          </p:nvGrpSpPr>
          <p:grpSpPr>
            <a:xfrm>
              <a:off x="5293757" y="5359969"/>
              <a:ext cx="385812" cy="372283"/>
              <a:chOff x="6274002" y="2845189"/>
              <a:chExt cx="758121" cy="802649"/>
            </a:xfrm>
          </p:grpSpPr>
          <p:pic>
            <p:nvPicPr>
              <p:cNvPr id="44" name="Picture 3" descr="F:\t图片素材\TE Desktop Moblie\Iphone\英文\IPhone视频通话.jpg"/>
              <p:cNvPicPr>
                <a:picLocks noChangeAspect="1" noChangeArrowheads="1"/>
              </p:cNvPicPr>
              <p:nvPr/>
            </p:nvPicPr>
            <p:blipFill>
              <a:blip r:embed="rId15" cstate="print"/>
              <a:srcRect/>
              <a:stretch>
                <a:fillRect/>
              </a:stretch>
            </p:blipFill>
            <p:spPr bwMode="auto">
              <a:xfrm>
                <a:off x="6380870" y="2845189"/>
                <a:ext cx="544384" cy="279249"/>
              </a:xfrm>
              <a:prstGeom prst="rect">
                <a:avLst/>
              </a:prstGeom>
              <a:noFill/>
            </p:spPr>
          </p:pic>
          <p:pic>
            <p:nvPicPr>
              <p:cNvPr id="45" name="Picture 4" descr="F:\t图片素材\TE Desktop Moblie\IPAD\英文\IPAD视频多画面.jpg"/>
              <p:cNvPicPr>
                <a:picLocks noChangeAspect="1" noChangeArrowheads="1"/>
              </p:cNvPicPr>
              <p:nvPr/>
            </p:nvPicPr>
            <p:blipFill>
              <a:blip r:embed="rId16" cstate="print"/>
              <a:srcRect/>
              <a:stretch>
                <a:fillRect/>
              </a:stretch>
            </p:blipFill>
            <p:spPr bwMode="auto">
              <a:xfrm>
                <a:off x="6274002" y="3132184"/>
                <a:ext cx="758121" cy="515654"/>
              </a:xfrm>
              <a:prstGeom prst="rect">
                <a:avLst/>
              </a:prstGeom>
              <a:noFill/>
            </p:spPr>
          </p:pic>
        </p:grpSp>
        <p:pic>
          <p:nvPicPr>
            <p:cNvPr id="43" name="Picture 1" descr="F:\t图片素材\RP-T新\RP200-S.jpg"/>
            <p:cNvPicPr>
              <a:picLocks noChangeAspect="1" noChangeArrowheads="1"/>
            </p:cNvPicPr>
            <p:nvPr/>
          </p:nvPicPr>
          <p:blipFill>
            <a:blip r:embed="rId17" cstate="print"/>
            <a:stretch>
              <a:fillRect/>
            </a:stretch>
          </p:blipFill>
          <p:spPr bwMode="auto">
            <a:xfrm>
              <a:off x="5761013" y="5250554"/>
              <a:ext cx="458730" cy="533508"/>
            </a:xfrm>
            <a:prstGeom prst="rect">
              <a:avLst/>
            </a:prstGeom>
            <a:noFill/>
            <a:ln>
              <a:noFill/>
            </a:ln>
          </p:spPr>
        </p:pic>
      </p:grpSp>
      <p:sp>
        <p:nvSpPr>
          <p:cNvPr id="36" name="矩形 35"/>
          <p:cNvSpPr/>
          <p:nvPr/>
        </p:nvSpPr>
        <p:spPr>
          <a:xfrm>
            <a:off x="2990166" y="3414315"/>
            <a:ext cx="648000" cy="886748"/>
          </a:xfrm>
          <a:prstGeom prst="rect">
            <a:avLst/>
          </a:prstGeom>
          <a:gradFill flip="none" rotWithShape="1">
            <a:gsLst>
              <a:gs pos="0">
                <a:srgbClr val="F1F5F9"/>
              </a:gs>
              <a:gs pos="100000">
                <a:srgbClr val="CCDAE7">
                  <a:alpha val="47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793"/>
            <a:endParaRPr lang="zh-CN" altLang="en-US" sz="1200">
              <a:solidFill>
                <a:prstClr val="white"/>
              </a:solidFill>
              <a:latin typeface="Arial" panose="020B0604020202020204" pitchFamily="34" charset="0"/>
              <a:ea typeface="微软雅黑" pitchFamily="34" charset="-122"/>
            </a:endParaRPr>
          </a:p>
        </p:txBody>
      </p:sp>
      <p:sp>
        <p:nvSpPr>
          <p:cNvPr id="111" name="116450523"/>
          <p:cNvSpPr txBox="1">
            <a:spLocks noChangeArrowheads="1"/>
          </p:cNvSpPr>
          <p:nvPr/>
        </p:nvSpPr>
        <p:spPr bwMode="auto">
          <a:xfrm>
            <a:off x="2917324" y="3841595"/>
            <a:ext cx="778446" cy="494571"/>
          </a:xfrm>
          <a:prstGeom prst="rect">
            <a:avLst/>
          </a:prstGeom>
          <a:noFill/>
          <a:ln w="9525">
            <a:noFill/>
            <a:miter lim="800000"/>
            <a:headEnd/>
            <a:tailEnd/>
          </a:ln>
        </p:spPr>
        <p:txBody>
          <a:bodyPr wrap="square" lIns="78310" tIns="39154" rIns="78310" bIns="39154">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783757" eaLnBrk="0" hangingPunct="0">
              <a:lnSpc>
                <a:spcPct val="90000"/>
              </a:lnSpc>
              <a:spcBef>
                <a:spcPts val="600"/>
              </a:spcBef>
              <a:buClr>
                <a:srgbClr val="000000"/>
              </a:buClr>
              <a:buSzPct val="70000"/>
            </a:pPr>
            <a:r>
              <a:rPr lang="en-US" altLang="zh-CN" sz="600" dirty="0" smtClean="0">
                <a:solidFill>
                  <a:prstClr val="black"/>
                </a:solidFill>
                <a:latin typeface="Arial" panose="020B0604020202020204" pitchFamily="34" charset="0"/>
                <a:ea typeface="微软雅黑" pitchFamily="34" charset="-122"/>
                <a:cs typeface="Arial" pitchFamily="34" charset="0"/>
              </a:rPr>
              <a:t>Mobile law enforcement terminal</a:t>
            </a:r>
          </a:p>
          <a:p>
            <a:pPr algn="ctr" defTabSz="783757" eaLnBrk="0" hangingPunct="0">
              <a:lnSpc>
                <a:spcPct val="90000"/>
              </a:lnSpc>
              <a:spcBef>
                <a:spcPts val="0"/>
              </a:spcBef>
              <a:buClr>
                <a:srgbClr val="000000"/>
              </a:buClr>
              <a:buSzPct val="70000"/>
            </a:pPr>
            <a:r>
              <a:rPr lang="en-US" altLang="zh-CN" sz="600" dirty="0" smtClean="0">
                <a:solidFill>
                  <a:prstClr val="black"/>
                </a:solidFill>
                <a:latin typeface="Arial" panose="020B0604020202020204" pitchFamily="34" charset="0"/>
                <a:ea typeface="微软雅黑" pitchFamily="34" charset="-122"/>
                <a:cs typeface="Arial" pitchFamily="34" charset="0"/>
              </a:rPr>
              <a:t>Law enforcement recorder</a:t>
            </a:r>
            <a:endParaRPr lang="en-US" altLang="zh-CN" sz="600" dirty="0">
              <a:solidFill>
                <a:prstClr val="black"/>
              </a:solidFill>
              <a:latin typeface="Arial" panose="020B0604020202020204" pitchFamily="34" charset="0"/>
              <a:ea typeface="微软雅黑" pitchFamily="34" charset="-122"/>
              <a:cs typeface="Arial" pitchFamily="34" charset="0"/>
            </a:endParaRPr>
          </a:p>
        </p:txBody>
      </p:sp>
      <p:pic>
        <p:nvPicPr>
          <p:cNvPr id="112" name="Picture 3" descr="D:\工作文件\组内工作\营销材料刷新\2013.6\素材\3500.png"/>
          <p:cNvPicPr>
            <a:picLocks noChangeAspect="1" noChangeArrowheads="1"/>
          </p:cNvPicPr>
          <p:nvPr/>
        </p:nvPicPr>
        <p:blipFill rotWithShape="1">
          <a:blip r:embed="rId18" cstate="print"/>
          <a:srcRect l="21484" t="27162" r="19737" b="13296"/>
          <a:stretch/>
        </p:blipFill>
        <p:spPr bwMode="auto">
          <a:xfrm>
            <a:off x="3312720" y="3432407"/>
            <a:ext cx="206263" cy="457025"/>
          </a:xfrm>
          <a:prstGeom prst="rect">
            <a:avLst/>
          </a:prstGeom>
          <a:noFill/>
        </p:spPr>
      </p:pic>
      <p:grpSp>
        <p:nvGrpSpPr>
          <p:cNvPr id="115" name="组合 634"/>
          <p:cNvGrpSpPr/>
          <p:nvPr/>
        </p:nvGrpSpPr>
        <p:grpSpPr>
          <a:xfrm>
            <a:off x="1783729" y="3440027"/>
            <a:ext cx="146354" cy="378787"/>
            <a:chOff x="14536144" y="-793834"/>
            <a:chExt cx="772115" cy="829074"/>
          </a:xfrm>
          <a:solidFill>
            <a:schemeClr val="tx1">
              <a:lumMod val="50000"/>
              <a:lumOff val="50000"/>
            </a:schemeClr>
          </a:solidFill>
        </p:grpSpPr>
        <p:sp>
          <p:nvSpPr>
            <p:cNvPr id="116" name="Freeform 33"/>
            <p:cNvSpPr>
              <a:spLocks noEditPoints="1"/>
            </p:cNvSpPr>
            <p:nvPr/>
          </p:nvSpPr>
          <p:spPr bwMode="auto">
            <a:xfrm>
              <a:off x="14770310" y="-521695"/>
              <a:ext cx="348084" cy="556935"/>
            </a:xfrm>
            <a:custGeom>
              <a:avLst/>
              <a:gdLst/>
              <a:ahLst/>
              <a:cxnLst>
                <a:cxn ang="0">
                  <a:pos x="68" y="54"/>
                </a:cxn>
                <a:cxn ang="0">
                  <a:pos x="68" y="48"/>
                </a:cxn>
                <a:cxn ang="0">
                  <a:pos x="70" y="44"/>
                </a:cxn>
                <a:cxn ang="0">
                  <a:pos x="78" y="32"/>
                </a:cxn>
                <a:cxn ang="0">
                  <a:pos x="80" y="24"/>
                </a:cxn>
                <a:cxn ang="0">
                  <a:pos x="74" y="6"/>
                </a:cxn>
                <a:cxn ang="0">
                  <a:pos x="56" y="0"/>
                </a:cxn>
                <a:cxn ang="0">
                  <a:pos x="46" y="2"/>
                </a:cxn>
                <a:cxn ang="0">
                  <a:pos x="32" y="16"/>
                </a:cxn>
                <a:cxn ang="0">
                  <a:pos x="30" y="24"/>
                </a:cxn>
                <a:cxn ang="0">
                  <a:pos x="34" y="38"/>
                </a:cxn>
                <a:cxn ang="0">
                  <a:pos x="40" y="44"/>
                </a:cxn>
                <a:cxn ang="0">
                  <a:pos x="42" y="54"/>
                </a:cxn>
                <a:cxn ang="0">
                  <a:pos x="0" y="174"/>
                </a:cxn>
                <a:cxn ang="0">
                  <a:pos x="2" y="176"/>
                </a:cxn>
                <a:cxn ang="0">
                  <a:pos x="22" y="170"/>
                </a:cxn>
                <a:cxn ang="0">
                  <a:pos x="56" y="164"/>
                </a:cxn>
                <a:cxn ang="0">
                  <a:pos x="72" y="166"/>
                </a:cxn>
                <a:cxn ang="0">
                  <a:pos x="108" y="176"/>
                </a:cxn>
                <a:cxn ang="0">
                  <a:pos x="110" y="176"/>
                </a:cxn>
                <a:cxn ang="0">
                  <a:pos x="110" y="174"/>
                </a:cxn>
                <a:cxn ang="0">
                  <a:pos x="56" y="72"/>
                </a:cxn>
                <a:cxn ang="0">
                  <a:pos x="64" y="76"/>
                </a:cxn>
                <a:cxn ang="0">
                  <a:pos x="68" y="84"/>
                </a:cxn>
                <a:cxn ang="0">
                  <a:pos x="66" y="90"/>
                </a:cxn>
                <a:cxn ang="0">
                  <a:pos x="60" y="96"/>
                </a:cxn>
                <a:cxn ang="0">
                  <a:pos x="56" y="98"/>
                </a:cxn>
                <a:cxn ang="0">
                  <a:pos x="46" y="94"/>
                </a:cxn>
                <a:cxn ang="0">
                  <a:pos x="42" y="84"/>
                </a:cxn>
                <a:cxn ang="0">
                  <a:pos x="44" y="80"/>
                </a:cxn>
                <a:cxn ang="0">
                  <a:pos x="50" y="74"/>
                </a:cxn>
                <a:cxn ang="0">
                  <a:pos x="56" y="72"/>
                </a:cxn>
                <a:cxn ang="0">
                  <a:pos x="56" y="144"/>
                </a:cxn>
                <a:cxn ang="0">
                  <a:pos x="42" y="138"/>
                </a:cxn>
                <a:cxn ang="0">
                  <a:pos x="36" y="124"/>
                </a:cxn>
                <a:cxn ang="0">
                  <a:pos x="38" y="118"/>
                </a:cxn>
                <a:cxn ang="0">
                  <a:pos x="48" y="108"/>
                </a:cxn>
                <a:cxn ang="0">
                  <a:pos x="56" y="106"/>
                </a:cxn>
                <a:cxn ang="0">
                  <a:pos x="68" y="112"/>
                </a:cxn>
                <a:cxn ang="0">
                  <a:pos x="74" y="124"/>
                </a:cxn>
                <a:cxn ang="0">
                  <a:pos x="72" y="132"/>
                </a:cxn>
                <a:cxn ang="0">
                  <a:pos x="62" y="142"/>
                </a:cxn>
                <a:cxn ang="0">
                  <a:pos x="56" y="144"/>
                </a:cxn>
              </a:cxnLst>
              <a:rect l="0" t="0" r="r" b="b"/>
              <a:pathLst>
                <a:path w="110" h="176">
                  <a:moveTo>
                    <a:pt x="110" y="174"/>
                  </a:moveTo>
                  <a:lnTo>
                    <a:pt x="68" y="54"/>
                  </a:lnTo>
                  <a:lnTo>
                    <a:pt x="68" y="54"/>
                  </a:lnTo>
                  <a:lnTo>
                    <a:pt x="68" y="48"/>
                  </a:lnTo>
                  <a:lnTo>
                    <a:pt x="70" y="44"/>
                  </a:lnTo>
                  <a:lnTo>
                    <a:pt x="70" y="44"/>
                  </a:lnTo>
                  <a:lnTo>
                    <a:pt x="76" y="38"/>
                  </a:lnTo>
                  <a:lnTo>
                    <a:pt x="78" y="32"/>
                  </a:lnTo>
                  <a:lnTo>
                    <a:pt x="80" y="24"/>
                  </a:lnTo>
                  <a:lnTo>
                    <a:pt x="80" y="24"/>
                  </a:lnTo>
                  <a:lnTo>
                    <a:pt x="78" y="16"/>
                  </a:lnTo>
                  <a:lnTo>
                    <a:pt x="74" y="6"/>
                  </a:lnTo>
                  <a:lnTo>
                    <a:pt x="64" y="2"/>
                  </a:lnTo>
                  <a:lnTo>
                    <a:pt x="56" y="0"/>
                  </a:lnTo>
                  <a:lnTo>
                    <a:pt x="56" y="0"/>
                  </a:lnTo>
                  <a:lnTo>
                    <a:pt x="46" y="2"/>
                  </a:lnTo>
                  <a:lnTo>
                    <a:pt x="38" y="6"/>
                  </a:lnTo>
                  <a:lnTo>
                    <a:pt x="32" y="16"/>
                  </a:lnTo>
                  <a:lnTo>
                    <a:pt x="30" y="24"/>
                  </a:lnTo>
                  <a:lnTo>
                    <a:pt x="30" y="24"/>
                  </a:lnTo>
                  <a:lnTo>
                    <a:pt x="32" y="32"/>
                  </a:lnTo>
                  <a:lnTo>
                    <a:pt x="34" y="38"/>
                  </a:lnTo>
                  <a:lnTo>
                    <a:pt x="40" y="44"/>
                  </a:lnTo>
                  <a:lnTo>
                    <a:pt x="40" y="44"/>
                  </a:lnTo>
                  <a:lnTo>
                    <a:pt x="42" y="48"/>
                  </a:lnTo>
                  <a:lnTo>
                    <a:pt x="42" y="54"/>
                  </a:lnTo>
                  <a:lnTo>
                    <a:pt x="0" y="174"/>
                  </a:lnTo>
                  <a:lnTo>
                    <a:pt x="0" y="174"/>
                  </a:lnTo>
                  <a:lnTo>
                    <a:pt x="0" y="176"/>
                  </a:lnTo>
                  <a:lnTo>
                    <a:pt x="2" y="176"/>
                  </a:lnTo>
                  <a:lnTo>
                    <a:pt x="2" y="176"/>
                  </a:lnTo>
                  <a:lnTo>
                    <a:pt x="22" y="170"/>
                  </a:lnTo>
                  <a:lnTo>
                    <a:pt x="38" y="166"/>
                  </a:lnTo>
                  <a:lnTo>
                    <a:pt x="56" y="164"/>
                  </a:lnTo>
                  <a:lnTo>
                    <a:pt x="56" y="164"/>
                  </a:lnTo>
                  <a:lnTo>
                    <a:pt x="72" y="166"/>
                  </a:lnTo>
                  <a:lnTo>
                    <a:pt x="88" y="170"/>
                  </a:lnTo>
                  <a:lnTo>
                    <a:pt x="108" y="176"/>
                  </a:lnTo>
                  <a:lnTo>
                    <a:pt x="108" y="176"/>
                  </a:lnTo>
                  <a:lnTo>
                    <a:pt x="110" y="176"/>
                  </a:lnTo>
                  <a:lnTo>
                    <a:pt x="110" y="174"/>
                  </a:lnTo>
                  <a:lnTo>
                    <a:pt x="110" y="174"/>
                  </a:lnTo>
                  <a:close/>
                  <a:moveTo>
                    <a:pt x="56" y="72"/>
                  </a:moveTo>
                  <a:lnTo>
                    <a:pt x="56" y="72"/>
                  </a:lnTo>
                  <a:lnTo>
                    <a:pt x="60" y="74"/>
                  </a:lnTo>
                  <a:lnTo>
                    <a:pt x="64" y="76"/>
                  </a:lnTo>
                  <a:lnTo>
                    <a:pt x="66" y="80"/>
                  </a:lnTo>
                  <a:lnTo>
                    <a:pt x="68" y="84"/>
                  </a:lnTo>
                  <a:lnTo>
                    <a:pt x="68" y="84"/>
                  </a:lnTo>
                  <a:lnTo>
                    <a:pt x="66" y="90"/>
                  </a:lnTo>
                  <a:lnTo>
                    <a:pt x="64" y="94"/>
                  </a:lnTo>
                  <a:lnTo>
                    <a:pt x="60" y="96"/>
                  </a:lnTo>
                  <a:lnTo>
                    <a:pt x="56" y="98"/>
                  </a:lnTo>
                  <a:lnTo>
                    <a:pt x="56" y="98"/>
                  </a:lnTo>
                  <a:lnTo>
                    <a:pt x="50" y="96"/>
                  </a:lnTo>
                  <a:lnTo>
                    <a:pt x="46" y="94"/>
                  </a:lnTo>
                  <a:lnTo>
                    <a:pt x="44" y="90"/>
                  </a:lnTo>
                  <a:lnTo>
                    <a:pt x="42" y="84"/>
                  </a:lnTo>
                  <a:lnTo>
                    <a:pt x="42" y="84"/>
                  </a:lnTo>
                  <a:lnTo>
                    <a:pt x="44" y="80"/>
                  </a:lnTo>
                  <a:lnTo>
                    <a:pt x="46" y="76"/>
                  </a:lnTo>
                  <a:lnTo>
                    <a:pt x="50" y="74"/>
                  </a:lnTo>
                  <a:lnTo>
                    <a:pt x="56" y="72"/>
                  </a:lnTo>
                  <a:lnTo>
                    <a:pt x="56" y="72"/>
                  </a:lnTo>
                  <a:close/>
                  <a:moveTo>
                    <a:pt x="56" y="144"/>
                  </a:moveTo>
                  <a:lnTo>
                    <a:pt x="56" y="144"/>
                  </a:lnTo>
                  <a:lnTo>
                    <a:pt x="48" y="142"/>
                  </a:lnTo>
                  <a:lnTo>
                    <a:pt x="42" y="138"/>
                  </a:lnTo>
                  <a:lnTo>
                    <a:pt x="38" y="132"/>
                  </a:lnTo>
                  <a:lnTo>
                    <a:pt x="36" y="124"/>
                  </a:lnTo>
                  <a:lnTo>
                    <a:pt x="36" y="124"/>
                  </a:lnTo>
                  <a:lnTo>
                    <a:pt x="38" y="118"/>
                  </a:lnTo>
                  <a:lnTo>
                    <a:pt x="42" y="112"/>
                  </a:lnTo>
                  <a:lnTo>
                    <a:pt x="48" y="108"/>
                  </a:lnTo>
                  <a:lnTo>
                    <a:pt x="56" y="106"/>
                  </a:lnTo>
                  <a:lnTo>
                    <a:pt x="56" y="106"/>
                  </a:lnTo>
                  <a:lnTo>
                    <a:pt x="62" y="108"/>
                  </a:lnTo>
                  <a:lnTo>
                    <a:pt x="68" y="112"/>
                  </a:lnTo>
                  <a:lnTo>
                    <a:pt x="72" y="118"/>
                  </a:lnTo>
                  <a:lnTo>
                    <a:pt x="74" y="124"/>
                  </a:lnTo>
                  <a:lnTo>
                    <a:pt x="74" y="124"/>
                  </a:lnTo>
                  <a:lnTo>
                    <a:pt x="72" y="132"/>
                  </a:lnTo>
                  <a:lnTo>
                    <a:pt x="68" y="138"/>
                  </a:lnTo>
                  <a:lnTo>
                    <a:pt x="62" y="142"/>
                  </a:lnTo>
                  <a:lnTo>
                    <a:pt x="56" y="144"/>
                  </a:lnTo>
                  <a:lnTo>
                    <a:pt x="56" y="144"/>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Arial" panose="020B0604020202020204" pitchFamily="34" charset="0"/>
                <a:ea typeface="微软雅黑" pitchFamily="34" charset="-122"/>
              </a:endParaRPr>
            </a:p>
          </p:txBody>
        </p:sp>
        <p:sp>
          <p:nvSpPr>
            <p:cNvPr id="117" name="Freeform 34"/>
            <p:cNvSpPr>
              <a:spLocks/>
            </p:cNvSpPr>
            <p:nvPr/>
          </p:nvSpPr>
          <p:spPr bwMode="auto">
            <a:xfrm>
              <a:off x="14536144" y="-629285"/>
              <a:ext cx="101261" cy="354413"/>
            </a:xfrm>
            <a:custGeom>
              <a:avLst/>
              <a:gdLst/>
              <a:ahLst/>
              <a:cxnLst>
                <a:cxn ang="0">
                  <a:pos x="20" y="2"/>
                </a:cxn>
                <a:cxn ang="0">
                  <a:pos x="20" y="2"/>
                </a:cxn>
                <a:cxn ang="0">
                  <a:pos x="12" y="12"/>
                </a:cxn>
                <a:cxn ang="0">
                  <a:pos x="6" y="26"/>
                </a:cxn>
                <a:cxn ang="0">
                  <a:pos x="2" y="40"/>
                </a:cxn>
                <a:cxn ang="0">
                  <a:pos x="0" y="54"/>
                </a:cxn>
                <a:cxn ang="0">
                  <a:pos x="0" y="54"/>
                </a:cxn>
                <a:cxn ang="0">
                  <a:pos x="2" y="68"/>
                </a:cxn>
                <a:cxn ang="0">
                  <a:pos x="6" y="84"/>
                </a:cxn>
                <a:cxn ang="0">
                  <a:pos x="14" y="98"/>
                </a:cxn>
                <a:cxn ang="0">
                  <a:pos x="24" y="112"/>
                </a:cxn>
                <a:cxn ang="0">
                  <a:pos x="24" y="112"/>
                </a:cxn>
                <a:cxn ang="0">
                  <a:pos x="28" y="112"/>
                </a:cxn>
                <a:cxn ang="0">
                  <a:pos x="30" y="112"/>
                </a:cxn>
                <a:cxn ang="0">
                  <a:pos x="30" y="112"/>
                </a:cxn>
                <a:cxn ang="0">
                  <a:pos x="32" y="108"/>
                </a:cxn>
                <a:cxn ang="0">
                  <a:pos x="30" y="106"/>
                </a:cxn>
                <a:cxn ang="0">
                  <a:pos x="30" y="106"/>
                </a:cxn>
                <a:cxn ang="0">
                  <a:pos x="20" y="94"/>
                </a:cxn>
                <a:cxn ang="0">
                  <a:pos x="14" y="80"/>
                </a:cxn>
                <a:cxn ang="0">
                  <a:pos x="10" y="68"/>
                </a:cxn>
                <a:cxn ang="0">
                  <a:pos x="8" y="54"/>
                </a:cxn>
                <a:cxn ang="0">
                  <a:pos x="8" y="54"/>
                </a:cxn>
                <a:cxn ang="0">
                  <a:pos x="10" y="40"/>
                </a:cxn>
                <a:cxn ang="0">
                  <a:pos x="12" y="28"/>
                </a:cxn>
                <a:cxn ang="0">
                  <a:pos x="18" y="18"/>
                </a:cxn>
                <a:cxn ang="0">
                  <a:pos x="26" y="8"/>
                </a:cxn>
                <a:cxn ang="0">
                  <a:pos x="26" y="8"/>
                </a:cxn>
                <a:cxn ang="0">
                  <a:pos x="28" y="4"/>
                </a:cxn>
                <a:cxn ang="0">
                  <a:pos x="26" y="2"/>
                </a:cxn>
                <a:cxn ang="0">
                  <a:pos x="26" y="2"/>
                </a:cxn>
                <a:cxn ang="0">
                  <a:pos x="24" y="0"/>
                </a:cxn>
                <a:cxn ang="0">
                  <a:pos x="20" y="2"/>
                </a:cxn>
                <a:cxn ang="0">
                  <a:pos x="20" y="2"/>
                </a:cxn>
              </a:cxnLst>
              <a:rect l="0" t="0" r="r" b="b"/>
              <a:pathLst>
                <a:path w="32" h="112">
                  <a:moveTo>
                    <a:pt x="20" y="2"/>
                  </a:moveTo>
                  <a:lnTo>
                    <a:pt x="20" y="2"/>
                  </a:lnTo>
                  <a:lnTo>
                    <a:pt x="12" y="12"/>
                  </a:lnTo>
                  <a:lnTo>
                    <a:pt x="6" y="26"/>
                  </a:lnTo>
                  <a:lnTo>
                    <a:pt x="2" y="40"/>
                  </a:lnTo>
                  <a:lnTo>
                    <a:pt x="0" y="54"/>
                  </a:lnTo>
                  <a:lnTo>
                    <a:pt x="0" y="54"/>
                  </a:lnTo>
                  <a:lnTo>
                    <a:pt x="2" y="68"/>
                  </a:lnTo>
                  <a:lnTo>
                    <a:pt x="6" y="84"/>
                  </a:lnTo>
                  <a:lnTo>
                    <a:pt x="14" y="98"/>
                  </a:lnTo>
                  <a:lnTo>
                    <a:pt x="24" y="112"/>
                  </a:lnTo>
                  <a:lnTo>
                    <a:pt x="24" y="112"/>
                  </a:lnTo>
                  <a:lnTo>
                    <a:pt x="28" y="112"/>
                  </a:lnTo>
                  <a:lnTo>
                    <a:pt x="30" y="112"/>
                  </a:lnTo>
                  <a:lnTo>
                    <a:pt x="30" y="112"/>
                  </a:lnTo>
                  <a:lnTo>
                    <a:pt x="32" y="108"/>
                  </a:lnTo>
                  <a:lnTo>
                    <a:pt x="30" y="106"/>
                  </a:lnTo>
                  <a:lnTo>
                    <a:pt x="30" y="106"/>
                  </a:lnTo>
                  <a:lnTo>
                    <a:pt x="20" y="94"/>
                  </a:lnTo>
                  <a:lnTo>
                    <a:pt x="14" y="80"/>
                  </a:lnTo>
                  <a:lnTo>
                    <a:pt x="10" y="68"/>
                  </a:lnTo>
                  <a:lnTo>
                    <a:pt x="8" y="54"/>
                  </a:lnTo>
                  <a:lnTo>
                    <a:pt x="8" y="54"/>
                  </a:lnTo>
                  <a:lnTo>
                    <a:pt x="10" y="40"/>
                  </a:lnTo>
                  <a:lnTo>
                    <a:pt x="12" y="28"/>
                  </a:lnTo>
                  <a:lnTo>
                    <a:pt x="18" y="18"/>
                  </a:lnTo>
                  <a:lnTo>
                    <a:pt x="26" y="8"/>
                  </a:lnTo>
                  <a:lnTo>
                    <a:pt x="26" y="8"/>
                  </a:lnTo>
                  <a:lnTo>
                    <a:pt x="28" y="4"/>
                  </a:lnTo>
                  <a:lnTo>
                    <a:pt x="26" y="2"/>
                  </a:lnTo>
                  <a:lnTo>
                    <a:pt x="26" y="2"/>
                  </a:lnTo>
                  <a:lnTo>
                    <a:pt x="24" y="0"/>
                  </a:lnTo>
                  <a:lnTo>
                    <a:pt x="20" y="2"/>
                  </a:lnTo>
                  <a:lnTo>
                    <a:pt x="20" y="2"/>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Arial" panose="020B0604020202020204" pitchFamily="34" charset="0"/>
                <a:ea typeface="微软雅黑" pitchFamily="34" charset="-122"/>
              </a:endParaRPr>
            </a:p>
          </p:txBody>
        </p:sp>
        <p:sp>
          <p:nvSpPr>
            <p:cNvPr id="118" name="Freeform 35"/>
            <p:cNvSpPr>
              <a:spLocks/>
            </p:cNvSpPr>
            <p:nvPr/>
          </p:nvSpPr>
          <p:spPr bwMode="auto">
            <a:xfrm>
              <a:off x="14618419" y="-603970"/>
              <a:ext cx="88603" cy="310112"/>
            </a:xfrm>
            <a:custGeom>
              <a:avLst/>
              <a:gdLst/>
              <a:ahLst/>
              <a:cxnLst>
                <a:cxn ang="0">
                  <a:pos x="18" y="0"/>
                </a:cxn>
                <a:cxn ang="0">
                  <a:pos x="18" y="0"/>
                </a:cxn>
                <a:cxn ang="0">
                  <a:pos x="10" y="10"/>
                </a:cxn>
                <a:cxn ang="0">
                  <a:pos x="4" y="22"/>
                </a:cxn>
                <a:cxn ang="0">
                  <a:pos x="0" y="34"/>
                </a:cxn>
                <a:cxn ang="0">
                  <a:pos x="0" y="46"/>
                </a:cxn>
                <a:cxn ang="0">
                  <a:pos x="0" y="46"/>
                </a:cxn>
                <a:cxn ang="0">
                  <a:pos x="0" y="60"/>
                </a:cxn>
                <a:cxn ang="0">
                  <a:pos x="4" y="72"/>
                </a:cxn>
                <a:cxn ang="0">
                  <a:pos x="12" y="84"/>
                </a:cxn>
                <a:cxn ang="0">
                  <a:pos x="20" y="96"/>
                </a:cxn>
                <a:cxn ang="0">
                  <a:pos x="20" y="96"/>
                </a:cxn>
                <a:cxn ang="0">
                  <a:pos x="24" y="98"/>
                </a:cxn>
                <a:cxn ang="0">
                  <a:pos x="26" y="96"/>
                </a:cxn>
                <a:cxn ang="0">
                  <a:pos x="26" y="96"/>
                </a:cxn>
                <a:cxn ang="0">
                  <a:pos x="28" y="94"/>
                </a:cxn>
                <a:cxn ang="0">
                  <a:pos x="26" y="90"/>
                </a:cxn>
                <a:cxn ang="0">
                  <a:pos x="26" y="90"/>
                </a:cxn>
                <a:cxn ang="0">
                  <a:pos x="18" y="80"/>
                </a:cxn>
                <a:cxn ang="0">
                  <a:pos x="12" y="70"/>
                </a:cxn>
                <a:cxn ang="0">
                  <a:pos x="8" y="58"/>
                </a:cxn>
                <a:cxn ang="0">
                  <a:pos x="8" y="46"/>
                </a:cxn>
                <a:cxn ang="0">
                  <a:pos x="8" y="46"/>
                </a:cxn>
                <a:cxn ang="0">
                  <a:pos x="8" y="36"/>
                </a:cxn>
                <a:cxn ang="0">
                  <a:pos x="12" y="24"/>
                </a:cxn>
                <a:cxn ang="0">
                  <a:pos x="16" y="16"/>
                </a:cxn>
                <a:cxn ang="0">
                  <a:pos x="24" y="6"/>
                </a:cxn>
                <a:cxn ang="0">
                  <a:pos x="24" y="6"/>
                </a:cxn>
                <a:cxn ang="0">
                  <a:pos x="24" y="4"/>
                </a:cxn>
                <a:cxn ang="0">
                  <a:pos x="24" y="0"/>
                </a:cxn>
                <a:cxn ang="0">
                  <a:pos x="24" y="0"/>
                </a:cxn>
                <a:cxn ang="0">
                  <a:pos x="20" y="0"/>
                </a:cxn>
                <a:cxn ang="0">
                  <a:pos x="18" y="0"/>
                </a:cxn>
                <a:cxn ang="0">
                  <a:pos x="18" y="0"/>
                </a:cxn>
              </a:cxnLst>
              <a:rect l="0" t="0" r="r" b="b"/>
              <a:pathLst>
                <a:path w="28" h="98">
                  <a:moveTo>
                    <a:pt x="18" y="0"/>
                  </a:moveTo>
                  <a:lnTo>
                    <a:pt x="18" y="0"/>
                  </a:lnTo>
                  <a:lnTo>
                    <a:pt x="10" y="10"/>
                  </a:lnTo>
                  <a:lnTo>
                    <a:pt x="4" y="22"/>
                  </a:lnTo>
                  <a:lnTo>
                    <a:pt x="0" y="34"/>
                  </a:lnTo>
                  <a:lnTo>
                    <a:pt x="0" y="46"/>
                  </a:lnTo>
                  <a:lnTo>
                    <a:pt x="0" y="46"/>
                  </a:lnTo>
                  <a:lnTo>
                    <a:pt x="0" y="60"/>
                  </a:lnTo>
                  <a:lnTo>
                    <a:pt x="4" y="72"/>
                  </a:lnTo>
                  <a:lnTo>
                    <a:pt x="12" y="84"/>
                  </a:lnTo>
                  <a:lnTo>
                    <a:pt x="20" y="96"/>
                  </a:lnTo>
                  <a:lnTo>
                    <a:pt x="20" y="96"/>
                  </a:lnTo>
                  <a:lnTo>
                    <a:pt x="24" y="98"/>
                  </a:lnTo>
                  <a:lnTo>
                    <a:pt x="26" y="96"/>
                  </a:lnTo>
                  <a:lnTo>
                    <a:pt x="26" y="96"/>
                  </a:lnTo>
                  <a:lnTo>
                    <a:pt x="28" y="94"/>
                  </a:lnTo>
                  <a:lnTo>
                    <a:pt x="26" y="90"/>
                  </a:lnTo>
                  <a:lnTo>
                    <a:pt x="26" y="90"/>
                  </a:lnTo>
                  <a:lnTo>
                    <a:pt x="18" y="80"/>
                  </a:lnTo>
                  <a:lnTo>
                    <a:pt x="12" y="70"/>
                  </a:lnTo>
                  <a:lnTo>
                    <a:pt x="8" y="58"/>
                  </a:lnTo>
                  <a:lnTo>
                    <a:pt x="8" y="46"/>
                  </a:lnTo>
                  <a:lnTo>
                    <a:pt x="8" y="46"/>
                  </a:lnTo>
                  <a:lnTo>
                    <a:pt x="8" y="36"/>
                  </a:lnTo>
                  <a:lnTo>
                    <a:pt x="12" y="24"/>
                  </a:lnTo>
                  <a:lnTo>
                    <a:pt x="16" y="16"/>
                  </a:lnTo>
                  <a:lnTo>
                    <a:pt x="24" y="6"/>
                  </a:lnTo>
                  <a:lnTo>
                    <a:pt x="24" y="6"/>
                  </a:lnTo>
                  <a:lnTo>
                    <a:pt x="24" y="4"/>
                  </a:lnTo>
                  <a:lnTo>
                    <a:pt x="24" y="0"/>
                  </a:lnTo>
                  <a:lnTo>
                    <a:pt x="24" y="0"/>
                  </a:lnTo>
                  <a:lnTo>
                    <a:pt x="20" y="0"/>
                  </a:lnTo>
                  <a:lnTo>
                    <a:pt x="18" y="0"/>
                  </a:lnTo>
                  <a:lnTo>
                    <a:pt x="18" y="0"/>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Arial" panose="020B0604020202020204" pitchFamily="34" charset="0"/>
                <a:ea typeface="微软雅黑" pitchFamily="34" charset="-122"/>
              </a:endParaRPr>
            </a:p>
          </p:txBody>
        </p:sp>
        <p:sp>
          <p:nvSpPr>
            <p:cNvPr id="119" name="Freeform 36"/>
            <p:cNvSpPr>
              <a:spLocks/>
            </p:cNvSpPr>
            <p:nvPr/>
          </p:nvSpPr>
          <p:spPr bwMode="auto">
            <a:xfrm>
              <a:off x="14694364" y="-578655"/>
              <a:ext cx="82274" cy="259481"/>
            </a:xfrm>
            <a:custGeom>
              <a:avLst/>
              <a:gdLst/>
              <a:ahLst/>
              <a:cxnLst>
                <a:cxn ang="0">
                  <a:pos x="16" y="0"/>
                </a:cxn>
                <a:cxn ang="0">
                  <a:pos x="16" y="0"/>
                </a:cxn>
                <a:cxn ang="0">
                  <a:pos x="8" y="8"/>
                </a:cxn>
                <a:cxn ang="0">
                  <a:pos x="4" y="18"/>
                </a:cxn>
                <a:cxn ang="0">
                  <a:pos x="2" y="28"/>
                </a:cxn>
                <a:cxn ang="0">
                  <a:pos x="0" y="38"/>
                </a:cxn>
                <a:cxn ang="0">
                  <a:pos x="0" y="38"/>
                </a:cxn>
                <a:cxn ang="0">
                  <a:pos x="2" y="50"/>
                </a:cxn>
                <a:cxn ang="0">
                  <a:pos x="4" y="60"/>
                </a:cxn>
                <a:cxn ang="0">
                  <a:pos x="10" y="72"/>
                </a:cxn>
                <a:cxn ang="0">
                  <a:pos x="18" y="80"/>
                </a:cxn>
                <a:cxn ang="0">
                  <a:pos x="18" y="80"/>
                </a:cxn>
                <a:cxn ang="0">
                  <a:pos x="22" y="82"/>
                </a:cxn>
                <a:cxn ang="0">
                  <a:pos x="24" y="80"/>
                </a:cxn>
                <a:cxn ang="0">
                  <a:pos x="24" y="80"/>
                </a:cxn>
                <a:cxn ang="0">
                  <a:pos x="26" y="78"/>
                </a:cxn>
                <a:cxn ang="0">
                  <a:pos x="24" y="74"/>
                </a:cxn>
                <a:cxn ang="0">
                  <a:pos x="24" y="74"/>
                </a:cxn>
                <a:cxn ang="0">
                  <a:pos x="18" y="66"/>
                </a:cxn>
                <a:cxn ang="0">
                  <a:pos x="12" y="58"/>
                </a:cxn>
                <a:cxn ang="0">
                  <a:pos x="10" y="48"/>
                </a:cxn>
                <a:cxn ang="0">
                  <a:pos x="8" y="38"/>
                </a:cxn>
                <a:cxn ang="0">
                  <a:pos x="8" y="38"/>
                </a:cxn>
                <a:cxn ang="0">
                  <a:pos x="10" y="30"/>
                </a:cxn>
                <a:cxn ang="0">
                  <a:pos x="12" y="22"/>
                </a:cxn>
                <a:cxn ang="0">
                  <a:pos x="16" y="14"/>
                </a:cxn>
                <a:cxn ang="0">
                  <a:pos x="22" y="6"/>
                </a:cxn>
                <a:cxn ang="0">
                  <a:pos x="22" y="6"/>
                </a:cxn>
                <a:cxn ang="0">
                  <a:pos x="22" y="4"/>
                </a:cxn>
                <a:cxn ang="0">
                  <a:pos x="22" y="0"/>
                </a:cxn>
                <a:cxn ang="0">
                  <a:pos x="22" y="0"/>
                </a:cxn>
                <a:cxn ang="0">
                  <a:pos x="18" y="0"/>
                </a:cxn>
                <a:cxn ang="0">
                  <a:pos x="16" y="0"/>
                </a:cxn>
                <a:cxn ang="0">
                  <a:pos x="16" y="0"/>
                </a:cxn>
              </a:cxnLst>
              <a:rect l="0" t="0" r="r" b="b"/>
              <a:pathLst>
                <a:path w="26" h="82">
                  <a:moveTo>
                    <a:pt x="16" y="0"/>
                  </a:moveTo>
                  <a:lnTo>
                    <a:pt x="16" y="0"/>
                  </a:lnTo>
                  <a:lnTo>
                    <a:pt x="8" y="8"/>
                  </a:lnTo>
                  <a:lnTo>
                    <a:pt x="4" y="18"/>
                  </a:lnTo>
                  <a:lnTo>
                    <a:pt x="2" y="28"/>
                  </a:lnTo>
                  <a:lnTo>
                    <a:pt x="0" y="38"/>
                  </a:lnTo>
                  <a:lnTo>
                    <a:pt x="0" y="38"/>
                  </a:lnTo>
                  <a:lnTo>
                    <a:pt x="2" y="50"/>
                  </a:lnTo>
                  <a:lnTo>
                    <a:pt x="4" y="60"/>
                  </a:lnTo>
                  <a:lnTo>
                    <a:pt x="10" y="72"/>
                  </a:lnTo>
                  <a:lnTo>
                    <a:pt x="18" y="80"/>
                  </a:lnTo>
                  <a:lnTo>
                    <a:pt x="18" y="80"/>
                  </a:lnTo>
                  <a:lnTo>
                    <a:pt x="22" y="82"/>
                  </a:lnTo>
                  <a:lnTo>
                    <a:pt x="24" y="80"/>
                  </a:lnTo>
                  <a:lnTo>
                    <a:pt x="24" y="80"/>
                  </a:lnTo>
                  <a:lnTo>
                    <a:pt x="26" y="78"/>
                  </a:lnTo>
                  <a:lnTo>
                    <a:pt x="24" y="74"/>
                  </a:lnTo>
                  <a:lnTo>
                    <a:pt x="24" y="74"/>
                  </a:lnTo>
                  <a:lnTo>
                    <a:pt x="18" y="66"/>
                  </a:lnTo>
                  <a:lnTo>
                    <a:pt x="12" y="58"/>
                  </a:lnTo>
                  <a:lnTo>
                    <a:pt x="10" y="48"/>
                  </a:lnTo>
                  <a:lnTo>
                    <a:pt x="8" y="38"/>
                  </a:lnTo>
                  <a:lnTo>
                    <a:pt x="8" y="38"/>
                  </a:lnTo>
                  <a:lnTo>
                    <a:pt x="10" y="30"/>
                  </a:lnTo>
                  <a:lnTo>
                    <a:pt x="12" y="22"/>
                  </a:lnTo>
                  <a:lnTo>
                    <a:pt x="16" y="14"/>
                  </a:lnTo>
                  <a:lnTo>
                    <a:pt x="22" y="6"/>
                  </a:lnTo>
                  <a:lnTo>
                    <a:pt x="22" y="6"/>
                  </a:lnTo>
                  <a:lnTo>
                    <a:pt x="22" y="4"/>
                  </a:lnTo>
                  <a:lnTo>
                    <a:pt x="22" y="0"/>
                  </a:lnTo>
                  <a:lnTo>
                    <a:pt x="22" y="0"/>
                  </a:lnTo>
                  <a:lnTo>
                    <a:pt x="18" y="0"/>
                  </a:lnTo>
                  <a:lnTo>
                    <a:pt x="16" y="0"/>
                  </a:lnTo>
                  <a:lnTo>
                    <a:pt x="16" y="0"/>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Arial" panose="020B0604020202020204" pitchFamily="34" charset="0"/>
                <a:ea typeface="微软雅黑" pitchFamily="34" charset="-122"/>
              </a:endParaRPr>
            </a:p>
          </p:txBody>
        </p:sp>
        <p:sp>
          <p:nvSpPr>
            <p:cNvPr id="120" name="Freeform 37"/>
            <p:cNvSpPr>
              <a:spLocks/>
            </p:cNvSpPr>
            <p:nvPr/>
          </p:nvSpPr>
          <p:spPr bwMode="auto">
            <a:xfrm>
              <a:off x="14776639" y="-559668"/>
              <a:ext cx="69617" cy="215179"/>
            </a:xfrm>
            <a:custGeom>
              <a:avLst/>
              <a:gdLst/>
              <a:ahLst/>
              <a:cxnLst>
                <a:cxn ang="0">
                  <a:pos x="12" y="2"/>
                </a:cxn>
                <a:cxn ang="0">
                  <a:pos x="12" y="2"/>
                </a:cxn>
                <a:cxn ang="0">
                  <a:pos x="6" y="8"/>
                </a:cxn>
                <a:cxn ang="0">
                  <a:pos x="2" y="16"/>
                </a:cxn>
                <a:cxn ang="0">
                  <a:pos x="0" y="24"/>
                </a:cxn>
                <a:cxn ang="0">
                  <a:pos x="0" y="32"/>
                </a:cxn>
                <a:cxn ang="0">
                  <a:pos x="0" y="32"/>
                </a:cxn>
                <a:cxn ang="0">
                  <a:pos x="0" y="42"/>
                </a:cxn>
                <a:cxn ang="0">
                  <a:pos x="4" y="50"/>
                </a:cxn>
                <a:cxn ang="0">
                  <a:pos x="8" y="60"/>
                </a:cxn>
                <a:cxn ang="0">
                  <a:pos x="14" y="68"/>
                </a:cxn>
                <a:cxn ang="0">
                  <a:pos x="14" y="68"/>
                </a:cxn>
                <a:cxn ang="0">
                  <a:pos x="18" y="68"/>
                </a:cxn>
                <a:cxn ang="0">
                  <a:pos x="20" y="68"/>
                </a:cxn>
                <a:cxn ang="0">
                  <a:pos x="20" y="68"/>
                </a:cxn>
                <a:cxn ang="0">
                  <a:pos x="22" y="64"/>
                </a:cxn>
                <a:cxn ang="0">
                  <a:pos x="20" y="62"/>
                </a:cxn>
                <a:cxn ang="0">
                  <a:pos x="20" y="62"/>
                </a:cxn>
                <a:cxn ang="0">
                  <a:pos x="14" y="54"/>
                </a:cxn>
                <a:cxn ang="0">
                  <a:pos x="12" y="48"/>
                </a:cxn>
                <a:cxn ang="0">
                  <a:pos x="8" y="40"/>
                </a:cxn>
                <a:cxn ang="0">
                  <a:pos x="8" y="32"/>
                </a:cxn>
                <a:cxn ang="0">
                  <a:pos x="8" y="32"/>
                </a:cxn>
                <a:cxn ang="0">
                  <a:pos x="8" y="26"/>
                </a:cxn>
                <a:cxn ang="0">
                  <a:pos x="10" y="20"/>
                </a:cxn>
                <a:cxn ang="0">
                  <a:pos x="14" y="14"/>
                </a:cxn>
                <a:cxn ang="0">
                  <a:pos x="18" y="8"/>
                </a:cxn>
                <a:cxn ang="0">
                  <a:pos x="18" y="8"/>
                </a:cxn>
                <a:cxn ang="0">
                  <a:pos x="20" y="4"/>
                </a:cxn>
                <a:cxn ang="0">
                  <a:pos x="18" y="2"/>
                </a:cxn>
                <a:cxn ang="0">
                  <a:pos x="18" y="2"/>
                </a:cxn>
                <a:cxn ang="0">
                  <a:pos x="16" y="0"/>
                </a:cxn>
                <a:cxn ang="0">
                  <a:pos x="12" y="2"/>
                </a:cxn>
                <a:cxn ang="0">
                  <a:pos x="12" y="2"/>
                </a:cxn>
              </a:cxnLst>
              <a:rect l="0" t="0" r="r" b="b"/>
              <a:pathLst>
                <a:path w="22" h="68">
                  <a:moveTo>
                    <a:pt x="12" y="2"/>
                  </a:moveTo>
                  <a:lnTo>
                    <a:pt x="12" y="2"/>
                  </a:lnTo>
                  <a:lnTo>
                    <a:pt x="6" y="8"/>
                  </a:lnTo>
                  <a:lnTo>
                    <a:pt x="2" y="16"/>
                  </a:lnTo>
                  <a:lnTo>
                    <a:pt x="0" y="24"/>
                  </a:lnTo>
                  <a:lnTo>
                    <a:pt x="0" y="32"/>
                  </a:lnTo>
                  <a:lnTo>
                    <a:pt x="0" y="32"/>
                  </a:lnTo>
                  <a:lnTo>
                    <a:pt x="0" y="42"/>
                  </a:lnTo>
                  <a:lnTo>
                    <a:pt x="4" y="50"/>
                  </a:lnTo>
                  <a:lnTo>
                    <a:pt x="8" y="60"/>
                  </a:lnTo>
                  <a:lnTo>
                    <a:pt x="14" y="68"/>
                  </a:lnTo>
                  <a:lnTo>
                    <a:pt x="14" y="68"/>
                  </a:lnTo>
                  <a:lnTo>
                    <a:pt x="18" y="68"/>
                  </a:lnTo>
                  <a:lnTo>
                    <a:pt x="20" y="68"/>
                  </a:lnTo>
                  <a:lnTo>
                    <a:pt x="20" y="68"/>
                  </a:lnTo>
                  <a:lnTo>
                    <a:pt x="22" y="64"/>
                  </a:lnTo>
                  <a:lnTo>
                    <a:pt x="20" y="62"/>
                  </a:lnTo>
                  <a:lnTo>
                    <a:pt x="20" y="62"/>
                  </a:lnTo>
                  <a:lnTo>
                    <a:pt x="14" y="54"/>
                  </a:lnTo>
                  <a:lnTo>
                    <a:pt x="12" y="48"/>
                  </a:lnTo>
                  <a:lnTo>
                    <a:pt x="8" y="40"/>
                  </a:lnTo>
                  <a:lnTo>
                    <a:pt x="8" y="32"/>
                  </a:lnTo>
                  <a:lnTo>
                    <a:pt x="8" y="32"/>
                  </a:lnTo>
                  <a:lnTo>
                    <a:pt x="8" y="26"/>
                  </a:lnTo>
                  <a:lnTo>
                    <a:pt x="10" y="20"/>
                  </a:lnTo>
                  <a:lnTo>
                    <a:pt x="14" y="14"/>
                  </a:lnTo>
                  <a:lnTo>
                    <a:pt x="18" y="8"/>
                  </a:lnTo>
                  <a:lnTo>
                    <a:pt x="18" y="8"/>
                  </a:lnTo>
                  <a:lnTo>
                    <a:pt x="20" y="4"/>
                  </a:lnTo>
                  <a:lnTo>
                    <a:pt x="18" y="2"/>
                  </a:lnTo>
                  <a:lnTo>
                    <a:pt x="18" y="2"/>
                  </a:lnTo>
                  <a:lnTo>
                    <a:pt x="16" y="0"/>
                  </a:lnTo>
                  <a:lnTo>
                    <a:pt x="12" y="2"/>
                  </a:lnTo>
                  <a:lnTo>
                    <a:pt x="12" y="2"/>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Arial" panose="020B0604020202020204" pitchFamily="34" charset="0"/>
                <a:ea typeface="微软雅黑" pitchFamily="34" charset="-122"/>
              </a:endParaRPr>
            </a:p>
          </p:txBody>
        </p:sp>
        <p:sp>
          <p:nvSpPr>
            <p:cNvPr id="121" name="Freeform 38"/>
            <p:cNvSpPr>
              <a:spLocks/>
            </p:cNvSpPr>
            <p:nvPr/>
          </p:nvSpPr>
          <p:spPr bwMode="auto">
            <a:xfrm>
              <a:off x="15042449" y="-793834"/>
              <a:ext cx="265810" cy="253152"/>
            </a:xfrm>
            <a:custGeom>
              <a:avLst/>
              <a:gdLst/>
              <a:ahLst/>
              <a:cxnLst>
                <a:cxn ang="0">
                  <a:pos x="84" y="76"/>
                </a:cxn>
                <a:cxn ang="0">
                  <a:pos x="84" y="76"/>
                </a:cxn>
                <a:cxn ang="0">
                  <a:pos x="84" y="60"/>
                </a:cxn>
                <a:cxn ang="0">
                  <a:pos x="78" y="46"/>
                </a:cxn>
                <a:cxn ang="0">
                  <a:pos x="72" y="34"/>
                </a:cxn>
                <a:cxn ang="0">
                  <a:pos x="62" y="24"/>
                </a:cxn>
                <a:cxn ang="0">
                  <a:pos x="62" y="24"/>
                </a:cxn>
                <a:cxn ang="0">
                  <a:pos x="50" y="14"/>
                </a:cxn>
                <a:cxn ang="0">
                  <a:pos x="36" y="6"/>
                </a:cxn>
                <a:cxn ang="0">
                  <a:pos x="22" y="2"/>
                </a:cxn>
                <a:cxn ang="0">
                  <a:pos x="4" y="0"/>
                </a:cxn>
                <a:cxn ang="0">
                  <a:pos x="4" y="0"/>
                </a:cxn>
                <a:cxn ang="0">
                  <a:pos x="2" y="0"/>
                </a:cxn>
                <a:cxn ang="0">
                  <a:pos x="0" y="4"/>
                </a:cxn>
                <a:cxn ang="0">
                  <a:pos x="0" y="4"/>
                </a:cxn>
                <a:cxn ang="0">
                  <a:pos x="2" y="6"/>
                </a:cxn>
                <a:cxn ang="0">
                  <a:pos x="4" y="8"/>
                </a:cxn>
                <a:cxn ang="0">
                  <a:pos x="4" y="8"/>
                </a:cxn>
                <a:cxn ang="0">
                  <a:pos x="20" y="10"/>
                </a:cxn>
                <a:cxn ang="0">
                  <a:pos x="34" y="14"/>
                </a:cxn>
                <a:cxn ang="0">
                  <a:pos x="46" y="20"/>
                </a:cxn>
                <a:cxn ang="0">
                  <a:pos x="58" y="30"/>
                </a:cxn>
                <a:cxn ang="0">
                  <a:pos x="58" y="30"/>
                </a:cxn>
                <a:cxn ang="0">
                  <a:pos x="66" y="40"/>
                </a:cxn>
                <a:cxn ang="0">
                  <a:pos x="72" y="50"/>
                </a:cxn>
                <a:cxn ang="0">
                  <a:pos x="74" y="62"/>
                </a:cxn>
                <a:cxn ang="0">
                  <a:pos x="76" y="76"/>
                </a:cxn>
                <a:cxn ang="0">
                  <a:pos x="76" y="76"/>
                </a:cxn>
                <a:cxn ang="0">
                  <a:pos x="78" y="78"/>
                </a:cxn>
                <a:cxn ang="0">
                  <a:pos x="80" y="80"/>
                </a:cxn>
                <a:cxn ang="0">
                  <a:pos x="80" y="80"/>
                </a:cxn>
                <a:cxn ang="0">
                  <a:pos x="84" y="78"/>
                </a:cxn>
                <a:cxn ang="0">
                  <a:pos x="84" y="76"/>
                </a:cxn>
                <a:cxn ang="0">
                  <a:pos x="84" y="76"/>
                </a:cxn>
              </a:cxnLst>
              <a:rect l="0" t="0" r="r" b="b"/>
              <a:pathLst>
                <a:path w="84" h="80">
                  <a:moveTo>
                    <a:pt x="84" y="76"/>
                  </a:moveTo>
                  <a:lnTo>
                    <a:pt x="84" y="76"/>
                  </a:lnTo>
                  <a:lnTo>
                    <a:pt x="84" y="60"/>
                  </a:lnTo>
                  <a:lnTo>
                    <a:pt x="78" y="46"/>
                  </a:lnTo>
                  <a:lnTo>
                    <a:pt x="72" y="34"/>
                  </a:lnTo>
                  <a:lnTo>
                    <a:pt x="62" y="24"/>
                  </a:lnTo>
                  <a:lnTo>
                    <a:pt x="62" y="24"/>
                  </a:lnTo>
                  <a:lnTo>
                    <a:pt x="50" y="14"/>
                  </a:lnTo>
                  <a:lnTo>
                    <a:pt x="36" y="6"/>
                  </a:lnTo>
                  <a:lnTo>
                    <a:pt x="22" y="2"/>
                  </a:lnTo>
                  <a:lnTo>
                    <a:pt x="4" y="0"/>
                  </a:lnTo>
                  <a:lnTo>
                    <a:pt x="4" y="0"/>
                  </a:lnTo>
                  <a:lnTo>
                    <a:pt x="2" y="0"/>
                  </a:lnTo>
                  <a:lnTo>
                    <a:pt x="0" y="4"/>
                  </a:lnTo>
                  <a:lnTo>
                    <a:pt x="0" y="4"/>
                  </a:lnTo>
                  <a:lnTo>
                    <a:pt x="2" y="6"/>
                  </a:lnTo>
                  <a:lnTo>
                    <a:pt x="4" y="8"/>
                  </a:lnTo>
                  <a:lnTo>
                    <a:pt x="4" y="8"/>
                  </a:lnTo>
                  <a:lnTo>
                    <a:pt x="20" y="10"/>
                  </a:lnTo>
                  <a:lnTo>
                    <a:pt x="34" y="14"/>
                  </a:lnTo>
                  <a:lnTo>
                    <a:pt x="46" y="20"/>
                  </a:lnTo>
                  <a:lnTo>
                    <a:pt x="58" y="30"/>
                  </a:lnTo>
                  <a:lnTo>
                    <a:pt x="58" y="30"/>
                  </a:lnTo>
                  <a:lnTo>
                    <a:pt x="66" y="40"/>
                  </a:lnTo>
                  <a:lnTo>
                    <a:pt x="72" y="50"/>
                  </a:lnTo>
                  <a:lnTo>
                    <a:pt x="74" y="62"/>
                  </a:lnTo>
                  <a:lnTo>
                    <a:pt x="76" y="76"/>
                  </a:lnTo>
                  <a:lnTo>
                    <a:pt x="76" y="76"/>
                  </a:lnTo>
                  <a:lnTo>
                    <a:pt x="78" y="78"/>
                  </a:lnTo>
                  <a:lnTo>
                    <a:pt x="80" y="80"/>
                  </a:lnTo>
                  <a:lnTo>
                    <a:pt x="80" y="80"/>
                  </a:lnTo>
                  <a:lnTo>
                    <a:pt x="84" y="78"/>
                  </a:lnTo>
                  <a:lnTo>
                    <a:pt x="84" y="76"/>
                  </a:lnTo>
                  <a:lnTo>
                    <a:pt x="84" y="76"/>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Arial" panose="020B0604020202020204" pitchFamily="34" charset="0"/>
                <a:ea typeface="微软雅黑" pitchFamily="34" charset="-122"/>
              </a:endParaRPr>
            </a:p>
          </p:txBody>
        </p:sp>
        <p:sp>
          <p:nvSpPr>
            <p:cNvPr id="122" name="Freeform 39"/>
            <p:cNvSpPr>
              <a:spLocks/>
            </p:cNvSpPr>
            <p:nvPr/>
          </p:nvSpPr>
          <p:spPr bwMode="auto">
            <a:xfrm>
              <a:off x="15010805" y="-730546"/>
              <a:ext cx="234166" cy="221508"/>
            </a:xfrm>
            <a:custGeom>
              <a:avLst/>
              <a:gdLst/>
              <a:ahLst/>
              <a:cxnLst>
                <a:cxn ang="0">
                  <a:pos x="74" y="66"/>
                </a:cxn>
                <a:cxn ang="0">
                  <a:pos x="74" y="66"/>
                </a:cxn>
                <a:cxn ang="0">
                  <a:pos x="72" y="52"/>
                </a:cxn>
                <a:cxn ang="0">
                  <a:pos x="68" y="42"/>
                </a:cxn>
                <a:cxn ang="0">
                  <a:pos x="62" y="30"/>
                </a:cxn>
                <a:cxn ang="0">
                  <a:pos x="54" y="20"/>
                </a:cxn>
                <a:cxn ang="0">
                  <a:pos x="54" y="20"/>
                </a:cxn>
                <a:cxn ang="0">
                  <a:pos x="44" y="12"/>
                </a:cxn>
                <a:cxn ang="0">
                  <a:pos x="32" y="6"/>
                </a:cxn>
                <a:cxn ang="0">
                  <a:pos x="18" y="2"/>
                </a:cxn>
                <a:cxn ang="0">
                  <a:pos x="4" y="0"/>
                </a:cxn>
                <a:cxn ang="0">
                  <a:pos x="4" y="0"/>
                </a:cxn>
                <a:cxn ang="0">
                  <a:pos x="2" y="2"/>
                </a:cxn>
                <a:cxn ang="0">
                  <a:pos x="0" y="4"/>
                </a:cxn>
                <a:cxn ang="0">
                  <a:pos x="0" y="4"/>
                </a:cxn>
                <a:cxn ang="0">
                  <a:pos x="2" y="8"/>
                </a:cxn>
                <a:cxn ang="0">
                  <a:pos x="4" y="8"/>
                </a:cxn>
                <a:cxn ang="0">
                  <a:pos x="4" y="8"/>
                </a:cxn>
                <a:cxn ang="0">
                  <a:pos x="16" y="10"/>
                </a:cxn>
                <a:cxn ang="0">
                  <a:pos x="28" y="14"/>
                </a:cxn>
                <a:cxn ang="0">
                  <a:pos x="40" y="20"/>
                </a:cxn>
                <a:cxn ang="0">
                  <a:pos x="48" y="26"/>
                </a:cxn>
                <a:cxn ang="0">
                  <a:pos x="48" y="26"/>
                </a:cxn>
                <a:cxn ang="0">
                  <a:pos x="56" y="36"/>
                </a:cxn>
                <a:cxn ang="0">
                  <a:pos x="60" y="44"/>
                </a:cxn>
                <a:cxn ang="0">
                  <a:pos x="64" y="54"/>
                </a:cxn>
                <a:cxn ang="0">
                  <a:pos x="66" y="66"/>
                </a:cxn>
                <a:cxn ang="0">
                  <a:pos x="66" y="66"/>
                </a:cxn>
                <a:cxn ang="0">
                  <a:pos x="66" y="68"/>
                </a:cxn>
                <a:cxn ang="0">
                  <a:pos x="70" y="70"/>
                </a:cxn>
                <a:cxn ang="0">
                  <a:pos x="70" y="70"/>
                </a:cxn>
                <a:cxn ang="0">
                  <a:pos x="72" y="68"/>
                </a:cxn>
                <a:cxn ang="0">
                  <a:pos x="74" y="66"/>
                </a:cxn>
                <a:cxn ang="0">
                  <a:pos x="74" y="66"/>
                </a:cxn>
              </a:cxnLst>
              <a:rect l="0" t="0" r="r" b="b"/>
              <a:pathLst>
                <a:path w="74" h="70">
                  <a:moveTo>
                    <a:pt x="74" y="66"/>
                  </a:moveTo>
                  <a:lnTo>
                    <a:pt x="74" y="66"/>
                  </a:lnTo>
                  <a:lnTo>
                    <a:pt x="72" y="52"/>
                  </a:lnTo>
                  <a:lnTo>
                    <a:pt x="68" y="42"/>
                  </a:lnTo>
                  <a:lnTo>
                    <a:pt x="62" y="30"/>
                  </a:lnTo>
                  <a:lnTo>
                    <a:pt x="54" y="20"/>
                  </a:lnTo>
                  <a:lnTo>
                    <a:pt x="54" y="20"/>
                  </a:lnTo>
                  <a:lnTo>
                    <a:pt x="44" y="12"/>
                  </a:lnTo>
                  <a:lnTo>
                    <a:pt x="32" y="6"/>
                  </a:lnTo>
                  <a:lnTo>
                    <a:pt x="18" y="2"/>
                  </a:lnTo>
                  <a:lnTo>
                    <a:pt x="4" y="0"/>
                  </a:lnTo>
                  <a:lnTo>
                    <a:pt x="4" y="0"/>
                  </a:lnTo>
                  <a:lnTo>
                    <a:pt x="2" y="2"/>
                  </a:lnTo>
                  <a:lnTo>
                    <a:pt x="0" y="4"/>
                  </a:lnTo>
                  <a:lnTo>
                    <a:pt x="0" y="4"/>
                  </a:lnTo>
                  <a:lnTo>
                    <a:pt x="2" y="8"/>
                  </a:lnTo>
                  <a:lnTo>
                    <a:pt x="4" y="8"/>
                  </a:lnTo>
                  <a:lnTo>
                    <a:pt x="4" y="8"/>
                  </a:lnTo>
                  <a:lnTo>
                    <a:pt x="16" y="10"/>
                  </a:lnTo>
                  <a:lnTo>
                    <a:pt x="28" y="14"/>
                  </a:lnTo>
                  <a:lnTo>
                    <a:pt x="40" y="20"/>
                  </a:lnTo>
                  <a:lnTo>
                    <a:pt x="48" y="26"/>
                  </a:lnTo>
                  <a:lnTo>
                    <a:pt x="48" y="26"/>
                  </a:lnTo>
                  <a:lnTo>
                    <a:pt x="56" y="36"/>
                  </a:lnTo>
                  <a:lnTo>
                    <a:pt x="60" y="44"/>
                  </a:lnTo>
                  <a:lnTo>
                    <a:pt x="64" y="54"/>
                  </a:lnTo>
                  <a:lnTo>
                    <a:pt x="66" y="66"/>
                  </a:lnTo>
                  <a:lnTo>
                    <a:pt x="66" y="66"/>
                  </a:lnTo>
                  <a:lnTo>
                    <a:pt x="66" y="68"/>
                  </a:lnTo>
                  <a:lnTo>
                    <a:pt x="70" y="70"/>
                  </a:lnTo>
                  <a:lnTo>
                    <a:pt x="70" y="70"/>
                  </a:lnTo>
                  <a:lnTo>
                    <a:pt x="72" y="68"/>
                  </a:lnTo>
                  <a:lnTo>
                    <a:pt x="74" y="66"/>
                  </a:lnTo>
                  <a:lnTo>
                    <a:pt x="74" y="66"/>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Arial" panose="020B0604020202020204" pitchFamily="34" charset="0"/>
                <a:ea typeface="微软雅黑" pitchFamily="34" charset="-122"/>
              </a:endParaRPr>
            </a:p>
          </p:txBody>
        </p:sp>
        <p:sp>
          <p:nvSpPr>
            <p:cNvPr id="123" name="Freeform 40"/>
            <p:cNvSpPr>
              <a:spLocks/>
            </p:cNvSpPr>
            <p:nvPr/>
          </p:nvSpPr>
          <p:spPr bwMode="auto">
            <a:xfrm>
              <a:off x="14979161" y="-660929"/>
              <a:ext cx="196193" cy="183535"/>
            </a:xfrm>
            <a:custGeom>
              <a:avLst/>
              <a:gdLst/>
              <a:ahLst/>
              <a:cxnLst>
                <a:cxn ang="0">
                  <a:pos x="62" y="54"/>
                </a:cxn>
                <a:cxn ang="0">
                  <a:pos x="62" y="54"/>
                </a:cxn>
                <a:cxn ang="0">
                  <a:pos x="62" y="44"/>
                </a:cxn>
                <a:cxn ang="0">
                  <a:pos x="58" y="34"/>
                </a:cxn>
                <a:cxn ang="0">
                  <a:pos x="54" y="24"/>
                </a:cxn>
                <a:cxn ang="0">
                  <a:pos x="46" y="16"/>
                </a:cxn>
                <a:cxn ang="0">
                  <a:pos x="46" y="16"/>
                </a:cxn>
                <a:cxn ang="0">
                  <a:pos x="38" y="10"/>
                </a:cxn>
                <a:cxn ang="0">
                  <a:pos x="28" y="4"/>
                </a:cxn>
                <a:cxn ang="0">
                  <a:pos x="16" y="0"/>
                </a:cxn>
                <a:cxn ang="0">
                  <a:pos x="4" y="0"/>
                </a:cxn>
                <a:cxn ang="0">
                  <a:pos x="4" y="0"/>
                </a:cxn>
                <a:cxn ang="0">
                  <a:pos x="0" y="0"/>
                </a:cxn>
                <a:cxn ang="0">
                  <a:pos x="0" y="4"/>
                </a:cxn>
                <a:cxn ang="0">
                  <a:pos x="0" y="4"/>
                </a:cxn>
                <a:cxn ang="0">
                  <a:pos x="0" y="6"/>
                </a:cxn>
                <a:cxn ang="0">
                  <a:pos x="4" y="8"/>
                </a:cxn>
                <a:cxn ang="0">
                  <a:pos x="4" y="8"/>
                </a:cxn>
                <a:cxn ang="0">
                  <a:pos x="14" y="8"/>
                </a:cxn>
                <a:cxn ang="0">
                  <a:pos x="24" y="12"/>
                </a:cxn>
                <a:cxn ang="0">
                  <a:pos x="34" y="16"/>
                </a:cxn>
                <a:cxn ang="0">
                  <a:pos x="40" y="22"/>
                </a:cxn>
                <a:cxn ang="0">
                  <a:pos x="40" y="22"/>
                </a:cxn>
                <a:cxn ang="0">
                  <a:pos x="46" y="30"/>
                </a:cxn>
                <a:cxn ang="0">
                  <a:pos x="50" y="36"/>
                </a:cxn>
                <a:cxn ang="0">
                  <a:pos x="54" y="46"/>
                </a:cxn>
                <a:cxn ang="0">
                  <a:pos x="54" y="54"/>
                </a:cxn>
                <a:cxn ang="0">
                  <a:pos x="54" y="54"/>
                </a:cxn>
                <a:cxn ang="0">
                  <a:pos x="56" y="58"/>
                </a:cxn>
                <a:cxn ang="0">
                  <a:pos x="58" y="58"/>
                </a:cxn>
                <a:cxn ang="0">
                  <a:pos x="58" y="58"/>
                </a:cxn>
                <a:cxn ang="0">
                  <a:pos x="62" y="58"/>
                </a:cxn>
                <a:cxn ang="0">
                  <a:pos x="62" y="54"/>
                </a:cxn>
                <a:cxn ang="0">
                  <a:pos x="62" y="54"/>
                </a:cxn>
              </a:cxnLst>
              <a:rect l="0" t="0" r="r" b="b"/>
              <a:pathLst>
                <a:path w="62" h="58">
                  <a:moveTo>
                    <a:pt x="62" y="54"/>
                  </a:moveTo>
                  <a:lnTo>
                    <a:pt x="62" y="54"/>
                  </a:lnTo>
                  <a:lnTo>
                    <a:pt x="62" y="44"/>
                  </a:lnTo>
                  <a:lnTo>
                    <a:pt x="58" y="34"/>
                  </a:lnTo>
                  <a:lnTo>
                    <a:pt x="54" y="24"/>
                  </a:lnTo>
                  <a:lnTo>
                    <a:pt x="46" y="16"/>
                  </a:lnTo>
                  <a:lnTo>
                    <a:pt x="46" y="16"/>
                  </a:lnTo>
                  <a:lnTo>
                    <a:pt x="38" y="10"/>
                  </a:lnTo>
                  <a:lnTo>
                    <a:pt x="28" y="4"/>
                  </a:lnTo>
                  <a:lnTo>
                    <a:pt x="16" y="0"/>
                  </a:lnTo>
                  <a:lnTo>
                    <a:pt x="4" y="0"/>
                  </a:lnTo>
                  <a:lnTo>
                    <a:pt x="4" y="0"/>
                  </a:lnTo>
                  <a:lnTo>
                    <a:pt x="0" y="0"/>
                  </a:lnTo>
                  <a:lnTo>
                    <a:pt x="0" y="4"/>
                  </a:lnTo>
                  <a:lnTo>
                    <a:pt x="0" y="4"/>
                  </a:lnTo>
                  <a:lnTo>
                    <a:pt x="0" y="6"/>
                  </a:lnTo>
                  <a:lnTo>
                    <a:pt x="4" y="8"/>
                  </a:lnTo>
                  <a:lnTo>
                    <a:pt x="4" y="8"/>
                  </a:lnTo>
                  <a:lnTo>
                    <a:pt x="14" y="8"/>
                  </a:lnTo>
                  <a:lnTo>
                    <a:pt x="24" y="12"/>
                  </a:lnTo>
                  <a:lnTo>
                    <a:pt x="34" y="16"/>
                  </a:lnTo>
                  <a:lnTo>
                    <a:pt x="40" y="22"/>
                  </a:lnTo>
                  <a:lnTo>
                    <a:pt x="40" y="22"/>
                  </a:lnTo>
                  <a:lnTo>
                    <a:pt x="46" y="30"/>
                  </a:lnTo>
                  <a:lnTo>
                    <a:pt x="50" y="36"/>
                  </a:lnTo>
                  <a:lnTo>
                    <a:pt x="54" y="46"/>
                  </a:lnTo>
                  <a:lnTo>
                    <a:pt x="54" y="54"/>
                  </a:lnTo>
                  <a:lnTo>
                    <a:pt x="54" y="54"/>
                  </a:lnTo>
                  <a:lnTo>
                    <a:pt x="56" y="58"/>
                  </a:lnTo>
                  <a:lnTo>
                    <a:pt x="58" y="58"/>
                  </a:lnTo>
                  <a:lnTo>
                    <a:pt x="58" y="58"/>
                  </a:lnTo>
                  <a:lnTo>
                    <a:pt x="62" y="58"/>
                  </a:lnTo>
                  <a:lnTo>
                    <a:pt x="62" y="54"/>
                  </a:lnTo>
                  <a:lnTo>
                    <a:pt x="62" y="54"/>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Arial" panose="020B0604020202020204" pitchFamily="34" charset="0"/>
                <a:ea typeface="微软雅黑" pitchFamily="34" charset="-122"/>
              </a:endParaRPr>
            </a:p>
          </p:txBody>
        </p:sp>
        <p:sp>
          <p:nvSpPr>
            <p:cNvPr id="124" name="Freeform 41"/>
            <p:cNvSpPr>
              <a:spLocks/>
            </p:cNvSpPr>
            <p:nvPr/>
          </p:nvSpPr>
          <p:spPr bwMode="auto">
            <a:xfrm>
              <a:off x="14947517" y="-597641"/>
              <a:ext cx="164549" cy="151891"/>
            </a:xfrm>
            <a:custGeom>
              <a:avLst/>
              <a:gdLst/>
              <a:ahLst/>
              <a:cxnLst>
                <a:cxn ang="0">
                  <a:pos x="52" y="44"/>
                </a:cxn>
                <a:cxn ang="0">
                  <a:pos x="52" y="44"/>
                </a:cxn>
                <a:cxn ang="0">
                  <a:pos x="50" y="36"/>
                </a:cxn>
                <a:cxn ang="0">
                  <a:pos x="48" y="28"/>
                </a:cxn>
                <a:cxn ang="0">
                  <a:pos x="44" y="20"/>
                </a:cxn>
                <a:cxn ang="0">
                  <a:pos x="38" y="14"/>
                </a:cxn>
                <a:cxn ang="0">
                  <a:pos x="38" y="14"/>
                </a:cxn>
                <a:cxn ang="0">
                  <a:pos x="32" y="8"/>
                </a:cxn>
                <a:cxn ang="0">
                  <a:pos x="22" y="4"/>
                </a:cxn>
                <a:cxn ang="0">
                  <a:pos x="14" y="0"/>
                </a:cxn>
                <a:cxn ang="0">
                  <a:pos x="4" y="0"/>
                </a:cxn>
                <a:cxn ang="0">
                  <a:pos x="4" y="0"/>
                </a:cxn>
                <a:cxn ang="0">
                  <a:pos x="0" y="2"/>
                </a:cxn>
                <a:cxn ang="0">
                  <a:pos x="0" y="4"/>
                </a:cxn>
                <a:cxn ang="0">
                  <a:pos x="0" y="4"/>
                </a:cxn>
                <a:cxn ang="0">
                  <a:pos x="0" y="8"/>
                </a:cxn>
                <a:cxn ang="0">
                  <a:pos x="4" y="8"/>
                </a:cxn>
                <a:cxn ang="0">
                  <a:pos x="4" y="8"/>
                </a:cxn>
                <a:cxn ang="0">
                  <a:pos x="12" y="10"/>
                </a:cxn>
                <a:cxn ang="0">
                  <a:pos x="20" y="12"/>
                </a:cxn>
                <a:cxn ang="0">
                  <a:pos x="26" y="16"/>
                </a:cxn>
                <a:cxn ang="0">
                  <a:pos x="32" y="20"/>
                </a:cxn>
                <a:cxn ang="0">
                  <a:pos x="32" y="20"/>
                </a:cxn>
                <a:cxn ang="0">
                  <a:pos x="36" y="26"/>
                </a:cxn>
                <a:cxn ang="0">
                  <a:pos x="40" y="32"/>
                </a:cxn>
                <a:cxn ang="0">
                  <a:pos x="42" y="38"/>
                </a:cxn>
                <a:cxn ang="0">
                  <a:pos x="42" y="44"/>
                </a:cxn>
                <a:cxn ang="0">
                  <a:pos x="42" y="44"/>
                </a:cxn>
                <a:cxn ang="0">
                  <a:pos x="44" y="48"/>
                </a:cxn>
                <a:cxn ang="0">
                  <a:pos x="48" y="48"/>
                </a:cxn>
                <a:cxn ang="0">
                  <a:pos x="48" y="48"/>
                </a:cxn>
                <a:cxn ang="0">
                  <a:pos x="50" y="48"/>
                </a:cxn>
                <a:cxn ang="0">
                  <a:pos x="52" y="44"/>
                </a:cxn>
                <a:cxn ang="0">
                  <a:pos x="52" y="44"/>
                </a:cxn>
              </a:cxnLst>
              <a:rect l="0" t="0" r="r" b="b"/>
              <a:pathLst>
                <a:path w="52" h="48">
                  <a:moveTo>
                    <a:pt x="52" y="44"/>
                  </a:moveTo>
                  <a:lnTo>
                    <a:pt x="52" y="44"/>
                  </a:lnTo>
                  <a:lnTo>
                    <a:pt x="50" y="36"/>
                  </a:lnTo>
                  <a:lnTo>
                    <a:pt x="48" y="28"/>
                  </a:lnTo>
                  <a:lnTo>
                    <a:pt x="44" y="20"/>
                  </a:lnTo>
                  <a:lnTo>
                    <a:pt x="38" y="14"/>
                  </a:lnTo>
                  <a:lnTo>
                    <a:pt x="38" y="14"/>
                  </a:lnTo>
                  <a:lnTo>
                    <a:pt x="32" y="8"/>
                  </a:lnTo>
                  <a:lnTo>
                    <a:pt x="22" y="4"/>
                  </a:lnTo>
                  <a:lnTo>
                    <a:pt x="14" y="0"/>
                  </a:lnTo>
                  <a:lnTo>
                    <a:pt x="4" y="0"/>
                  </a:lnTo>
                  <a:lnTo>
                    <a:pt x="4" y="0"/>
                  </a:lnTo>
                  <a:lnTo>
                    <a:pt x="0" y="2"/>
                  </a:lnTo>
                  <a:lnTo>
                    <a:pt x="0" y="4"/>
                  </a:lnTo>
                  <a:lnTo>
                    <a:pt x="0" y="4"/>
                  </a:lnTo>
                  <a:lnTo>
                    <a:pt x="0" y="8"/>
                  </a:lnTo>
                  <a:lnTo>
                    <a:pt x="4" y="8"/>
                  </a:lnTo>
                  <a:lnTo>
                    <a:pt x="4" y="8"/>
                  </a:lnTo>
                  <a:lnTo>
                    <a:pt x="12" y="10"/>
                  </a:lnTo>
                  <a:lnTo>
                    <a:pt x="20" y="12"/>
                  </a:lnTo>
                  <a:lnTo>
                    <a:pt x="26" y="16"/>
                  </a:lnTo>
                  <a:lnTo>
                    <a:pt x="32" y="20"/>
                  </a:lnTo>
                  <a:lnTo>
                    <a:pt x="32" y="20"/>
                  </a:lnTo>
                  <a:lnTo>
                    <a:pt x="36" y="26"/>
                  </a:lnTo>
                  <a:lnTo>
                    <a:pt x="40" y="32"/>
                  </a:lnTo>
                  <a:lnTo>
                    <a:pt x="42" y="38"/>
                  </a:lnTo>
                  <a:lnTo>
                    <a:pt x="42" y="44"/>
                  </a:lnTo>
                  <a:lnTo>
                    <a:pt x="42" y="44"/>
                  </a:lnTo>
                  <a:lnTo>
                    <a:pt x="44" y="48"/>
                  </a:lnTo>
                  <a:lnTo>
                    <a:pt x="48" y="48"/>
                  </a:lnTo>
                  <a:lnTo>
                    <a:pt x="48" y="48"/>
                  </a:lnTo>
                  <a:lnTo>
                    <a:pt x="50" y="48"/>
                  </a:lnTo>
                  <a:lnTo>
                    <a:pt x="52" y="44"/>
                  </a:lnTo>
                  <a:lnTo>
                    <a:pt x="52" y="44"/>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defTabSz="1218793"/>
              <a:endParaRPr lang="zh-CN" altLang="en-US" sz="400" b="1" dirty="0">
                <a:solidFill>
                  <a:prstClr val="black"/>
                </a:solidFill>
                <a:latin typeface="Arial" panose="020B0604020202020204" pitchFamily="34" charset="0"/>
                <a:ea typeface="微软雅黑" pitchFamily="34" charset="-122"/>
              </a:endParaRPr>
            </a:p>
          </p:txBody>
        </p:sp>
      </p:grpSp>
      <p:pic>
        <p:nvPicPr>
          <p:cNvPr id="125" name="图片 124"/>
          <p:cNvPicPr/>
          <p:nvPr/>
        </p:nvPicPr>
        <p:blipFill>
          <a:blip r:embed="rId19" cstate="print">
            <a:extLst>
              <a:ext uri="{BEBA8EAE-BF5A-486C-A8C5-ECC9F3942E4B}">
                <a14:imgProps xmlns:a14="http://schemas.microsoft.com/office/drawing/2010/main" xmlns="">
                  <a14:imgLayer r:embed="rId20">
                    <a14:imgEffect>
                      <a14:backgroundRemoval t="1585" b="99634" l="1099" r="98535"/>
                    </a14:imgEffect>
                  </a14:imgLayer>
                </a14:imgProps>
              </a:ext>
            </a:extLst>
          </a:blip>
          <a:srcRect/>
          <a:stretch>
            <a:fillRect/>
          </a:stretch>
        </p:blipFill>
        <p:spPr bwMode="auto">
          <a:xfrm>
            <a:off x="1686519" y="3753159"/>
            <a:ext cx="93966" cy="285761"/>
          </a:xfrm>
          <a:prstGeom prst="rect">
            <a:avLst/>
          </a:prstGeom>
          <a:noFill/>
          <a:ln w="9525">
            <a:noFill/>
            <a:miter lim="800000"/>
            <a:headEnd/>
            <a:tailEnd/>
          </a:ln>
        </p:spPr>
      </p:pic>
      <p:pic>
        <p:nvPicPr>
          <p:cNvPr id="126" name="Picture 16"/>
          <p:cNvPicPr>
            <a:picLocks noChangeAspect="1" noChangeArrowheads="1"/>
          </p:cNvPicPr>
          <p:nvPr/>
        </p:nvPicPr>
        <p:blipFill>
          <a:blip r:embed="rId21" cstate="print"/>
          <a:srcRect/>
          <a:stretch>
            <a:fillRect/>
          </a:stretch>
        </p:blipFill>
        <p:spPr bwMode="auto">
          <a:xfrm>
            <a:off x="1918087" y="3798934"/>
            <a:ext cx="108863" cy="234987"/>
          </a:xfrm>
          <a:prstGeom prst="rect">
            <a:avLst/>
          </a:prstGeom>
          <a:noFill/>
          <a:ln w="9525">
            <a:noFill/>
            <a:miter lim="800000"/>
            <a:headEnd/>
            <a:tailEnd/>
          </a:ln>
        </p:spPr>
      </p:pic>
      <p:sp>
        <p:nvSpPr>
          <p:cNvPr id="127" name="1673480131"/>
          <p:cNvSpPr txBox="1">
            <a:spLocks noChangeArrowheads="1"/>
          </p:cNvSpPr>
          <p:nvPr/>
        </p:nvSpPr>
        <p:spPr bwMode="auto">
          <a:xfrm>
            <a:off x="1513927" y="3993231"/>
            <a:ext cx="675697" cy="328416"/>
          </a:xfrm>
          <a:prstGeom prst="rect">
            <a:avLst/>
          </a:prstGeom>
          <a:noFill/>
          <a:ln w="9525">
            <a:noFill/>
            <a:miter lim="800000"/>
            <a:headEnd/>
            <a:tailEnd/>
          </a:ln>
        </p:spPr>
        <p:txBody>
          <a:bodyPr wrap="square" lIns="78353" tIns="39176" rIns="78353" bIns="39176">
            <a:spAutoFit/>
          </a:bodyPr>
          <a:ls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a:lstStyle>
          <a:p>
            <a:pPr algn="ctr" defTabSz="1218793">
              <a:lnSpc>
                <a:spcPct val="90000"/>
              </a:lnSpc>
            </a:pPr>
            <a:r>
              <a:rPr lang="en-US" altLang="zh-CN" sz="600" dirty="0" smtClean="0">
                <a:solidFill>
                  <a:prstClr val="black"/>
                </a:solidFill>
                <a:latin typeface="Arial" panose="020B0604020202020204" pitchFamily="34" charset="0"/>
                <a:ea typeface="微软雅黑" pitchFamily="34" charset="-122"/>
                <a:cs typeface="Arial" pitchFamily="34" charset="0"/>
              </a:rPr>
              <a:t>eLTE broadband trunking</a:t>
            </a:r>
            <a:endParaRPr lang="zh-CN" altLang="en-US" sz="600" dirty="0">
              <a:solidFill>
                <a:prstClr val="black"/>
              </a:solidFill>
              <a:latin typeface="Arial" panose="020B0604020202020204" pitchFamily="34" charset="0"/>
              <a:ea typeface="微软雅黑" pitchFamily="34" charset="-122"/>
              <a:cs typeface="Arial" pitchFamily="34" charset="0"/>
            </a:endParaRPr>
          </a:p>
        </p:txBody>
      </p:sp>
      <p:pic>
        <p:nvPicPr>
          <p:cNvPr id="128" name="Picture 2" descr="D:\Users\l043838\对讲机.PNG"/>
          <p:cNvPicPr>
            <a:picLocks noChangeAspect="1" noChangeArrowheads="1"/>
          </p:cNvPicPr>
          <p:nvPr/>
        </p:nvPicPr>
        <p:blipFill>
          <a:blip r:embed="rId22" cstate="print"/>
          <a:srcRect/>
          <a:stretch>
            <a:fillRect/>
          </a:stretch>
        </p:blipFill>
        <p:spPr bwMode="auto">
          <a:xfrm>
            <a:off x="918582" y="3766797"/>
            <a:ext cx="120770" cy="281633"/>
          </a:xfrm>
          <a:prstGeom prst="rect">
            <a:avLst/>
          </a:prstGeom>
          <a:noFill/>
          <a:ln w="9525">
            <a:noFill/>
            <a:miter lim="800000"/>
            <a:headEnd/>
            <a:tailEnd/>
          </a:ln>
        </p:spPr>
      </p:pic>
      <p:pic>
        <p:nvPicPr>
          <p:cNvPr id="129" name="Picture 5"/>
          <p:cNvPicPr>
            <a:picLocks noChangeAspect="1" noChangeArrowheads="1"/>
          </p:cNvPicPr>
          <p:nvPr/>
        </p:nvPicPr>
        <p:blipFill>
          <a:blip r:embed="rId23" cstate="print"/>
          <a:srcRect/>
          <a:stretch>
            <a:fillRect/>
          </a:stretch>
        </p:blipFill>
        <p:spPr bwMode="auto">
          <a:xfrm>
            <a:off x="1228905" y="3818134"/>
            <a:ext cx="108371" cy="222185"/>
          </a:xfrm>
          <a:prstGeom prst="rect">
            <a:avLst/>
          </a:prstGeom>
          <a:noFill/>
          <a:ln w="9525">
            <a:noFill/>
            <a:miter lim="800000"/>
            <a:headEnd/>
            <a:tailEnd/>
          </a:ln>
        </p:spPr>
      </p:pic>
      <p:sp>
        <p:nvSpPr>
          <p:cNvPr id="130" name="1694450504"/>
          <p:cNvSpPr txBox="1"/>
          <p:nvPr/>
        </p:nvSpPr>
        <p:spPr>
          <a:xfrm>
            <a:off x="3689105" y="3519598"/>
            <a:ext cx="633257" cy="276999"/>
          </a:xfrm>
          <a:prstGeom prst="rect">
            <a:avLst/>
          </a:prstGeom>
          <a:noFill/>
        </p:spPr>
        <p:txBody>
          <a:bodyPr wrap="square" rtlCol="0">
            <a:spAutoFit/>
          </a:bodyPr>
          <a:lstStyle/>
          <a:p>
            <a:pPr algn="ctr" fontAlgn="auto">
              <a:spcBef>
                <a:spcPts val="0"/>
              </a:spcBef>
              <a:spcAft>
                <a:spcPts val="0"/>
              </a:spcAft>
              <a:buClrTx/>
            </a:pPr>
            <a:r>
              <a:rPr lang="en-US" altLang="zh-CN" sz="400" b="0" dirty="0" smtClean="0">
                <a:latin typeface="Arial" panose="020B0604020202020204" pitchFamily="34" charset="0"/>
                <a:ea typeface="微软雅黑" panose="020B0503020204020204" pitchFamily="34" charset="-122"/>
              </a:rPr>
              <a:t>Wireless cameras integrated with the eLTE-U module</a:t>
            </a:r>
            <a:endParaRPr lang="en-US" altLang="zh-CN" sz="400" dirty="0" smtClean="0">
              <a:latin typeface="Arial" panose="020B0604020202020204" pitchFamily="34" charset="0"/>
              <a:ea typeface="微软雅黑" panose="020B0503020204020204" pitchFamily="34" charset="-122"/>
            </a:endParaRPr>
          </a:p>
        </p:txBody>
      </p:sp>
      <p:pic>
        <p:nvPicPr>
          <p:cNvPr id="133" name="Picture 3" descr="D:\backup\My Documents\My Pictures\产品图片\模块\ME909-521正面(Mini PCIe).png"/>
          <p:cNvPicPr>
            <a:picLocks noChangeAspect="1" noChangeArrowheads="1"/>
          </p:cNvPicPr>
          <p:nvPr/>
        </p:nvPicPr>
        <p:blipFill>
          <a:blip r:embed="rId24" cstate="screen"/>
          <a:srcRect/>
          <a:stretch>
            <a:fillRect/>
          </a:stretch>
        </p:blipFill>
        <p:spPr bwMode="auto">
          <a:xfrm>
            <a:off x="3791421" y="3447414"/>
            <a:ext cx="67781" cy="89457"/>
          </a:xfrm>
          <a:prstGeom prst="rect">
            <a:avLst/>
          </a:prstGeom>
          <a:noFill/>
          <a:effectLst/>
        </p:spPr>
      </p:pic>
      <p:sp>
        <p:nvSpPr>
          <p:cNvPr id="134" name="右箭头 133"/>
          <p:cNvSpPr/>
          <p:nvPr/>
        </p:nvSpPr>
        <p:spPr>
          <a:xfrm>
            <a:off x="3892601" y="3452176"/>
            <a:ext cx="65686" cy="80886"/>
          </a:xfrm>
          <a:prstGeom prst="rightArrow">
            <a:avLst/>
          </a:prstGeom>
          <a:solidFill>
            <a:srgbClr val="C00000"/>
          </a:solidFill>
          <a:ln>
            <a:noFill/>
            <a:headEnd/>
            <a:tailEn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6" tIns="8423" rIns="16846" bIns="8423" anchor="ctr" anchorCtr="0">
            <a:noAutofit/>
          </a:bodyPr>
          <a:lstStyle/>
          <a:p>
            <a:pPr eaLnBrk="0" hangingPunct="0">
              <a:buClr>
                <a:srgbClr val="CC9900"/>
              </a:buClr>
              <a:buFont typeface="Wingdings" pitchFamily="2" charset="2"/>
              <a:buChar char="n"/>
              <a:defRPr/>
            </a:pPr>
            <a:endParaRPr lang="zh-CN" altLang="en-US" sz="1800">
              <a:solidFill>
                <a:prstClr val="white"/>
              </a:solidFill>
              <a:latin typeface="Arial" panose="020B0604020202020204" pitchFamily="34" charset="0"/>
              <a:cs typeface="Arial" pitchFamily="34" charset="0"/>
              <a:sym typeface="Arial"/>
            </a:endParaRPr>
          </a:p>
        </p:txBody>
      </p:sp>
      <p:grpSp>
        <p:nvGrpSpPr>
          <p:cNvPr id="135" name="组合 134"/>
          <p:cNvGrpSpPr/>
          <p:nvPr/>
        </p:nvGrpSpPr>
        <p:grpSpPr>
          <a:xfrm>
            <a:off x="3796977" y="3799966"/>
            <a:ext cx="439201" cy="208565"/>
            <a:chOff x="4625745" y="4419596"/>
            <a:chExt cx="690279" cy="385520"/>
          </a:xfrm>
        </p:grpSpPr>
        <p:pic>
          <p:nvPicPr>
            <p:cNvPr id="136" name="Picture 2"/>
            <p:cNvPicPr>
              <a:picLocks noChangeAspect="1" noChangeArrowheads="1"/>
            </p:cNvPicPr>
            <p:nvPr/>
          </p:nvPicPr>
          <p:blipFill rotWithShape="1">
            <a:blip r:embed="rId25" cstate="print">
              <a:clrChange>
                <a:clrFrom>
                  <a:srgbClr val="FFFFFF"/>
                </a:clrFrom>
                <a:clrTo>
                  <a:srgbClr val="FFFFFF">
                    <a:alpha val="0"/>
                  </a:srgbClr>
                </a:clrTo>
              </a:clrChange>
            </a:blip>
            <a:srcRect l="19484" t="23532" r="47393" b="20906"/>
            <a:stretch/>
          </p:blipFill>
          <p:spPr bwMode="auto">
            <a:xfrm>
              <a:off x="4625745" y="4419596"/>
              <a:ext cx="324869" cy="357511"/>
            </a:xfrm>
            <a:prstGeom prst="rect">
              <a:avLst/>
            </a:prstGeom>
            <a:noFill/>
            <a:ln w="9525">
              <a:noFill/>
              <a:miter lim="800000"/>
              <a:headEnd/>
              <a:tailEnd/>
            </a:ln>
            <a:effectLst>
              <a:outerShdw blurRad="63500" sx="102000" sy="102000" algn="ctr" rotWithShape="0">
                <a:prstClr val="black">
                  <a:alpha val="80000"/>
                </a:prstClr>
              </a:outerShdw>
            </a:effectLst>
          </p:spPr>
        </p:pic>
        <p:pic>
          <p:nvPicPr>
            <p:cNvPr id="137" name="图片 136"/>
            <p:cNvPicPr>
              <a:picLocks noChangeAspect="1"/>
            </p:cNvPicPr>
            <p:nvPr/>
          </p:nvPicPr>
          <p:blipFill>
            <a:blip r:embed="rId26" cstate="print">
              <a:extLst>
                <a:ext uri="{BEBA8EAE-BF5A-486C-A8C5-ECC9F3942E4B}">
                  <a14:imgProps xmlns:a14="http://schemas.microsoft.com/office/drawing/2010/main" xmlns="">
                    <a14:imgLayer r:embed="rId20">
                      <a14:imgEffect>
                        <a14:backgroundRemoval t="0" b="96517" l="0" r="100000"/>
                      </a14:imgEffect>
                    </a14:imgLayer>
                  </a14:imgProps>
                </a:ext>
              </a:extLst>
            </a:blip>
            <a:stretch>
              <a:fillRect/>
            </a:stretch>
          </p:blipFill>
          <p:spPr>
            <a:xfrm flipH="1">
              <a:off x="4903161" y="4580852"/>
              <a:ext cx="412863" cy="224264"/>
            </a:xfrm>
            <a:prstGeom prst="rect">
              <a:avLst/>
            </a:prstGeom>
          </p:spPr>
        </p:pic>
      </p:grpSp>
      <p:sp>
        <p:nvSpPr>
          <p:cNvPr id="138" name="1494216143"/>
          <p:cNvSpPr txBox="1"/>
          <p:nvPr/>
        </p:nvSpPr>
        <p:spPr>
          <a:xfrm>
            <a:off x="3665469" y="3967301"/>
            <a:ext cx="665289" cy="276999"/>
          </a:xfrm>
          <a:prstGeom prst="rect">
            <a:avLst/>
          </a:prstGeom>
          <a:noFill/>
        </p:spPr>
        <p:txBody>
          <a:bodyPr wrap="square" rtlCol="0">
            <a:spAutoFit/>
          </a:bodyPr>
          <a:lstStyle/>
          <a:p>
            <a:pPr algn="ctr" fontAlgn="auto">
              <a:spcBef>
                <a:spcPts val="0"/>
              </a:spcBef>
              <a:spcAft>
                <a:spcPts val="0"/>
              </a:spcAft>
              <a:buClrTx/>
              <a:tabLst>
                <a:tab pos="88900" algn="l"/>
              </a:tabLst>
            </a:pPr>
            <a:r>
              <a:rPr lang="en-US" altLang="zh-CN" sz="400" dirty="0" smtClean="0">
                <a:latin typeface="Arial" panose="020B0604020202020204" pitchFamily="34" charset="0"/>
                <a:ea typeface="微软雅黑" panose="020B0503020204020204" pitchFamily="34" charset="-122"/>
              </a:rPr>
              <a:t>Traditional network cameras connected to the DAU</a:t>
            </a:r>
          </a:p>
        </p:txBody>
      </p:sp>
      <p:pic>
        <p:nvPicPr>
          <p:cNvPr id="2050" name="Picture 2"/>
          <p:cNvPicPr>
            <a:picLocks noChangeAspect="1" noChangeArrowheads="1"/>
          </p:cNvPicPr>
          <p:nvPr/>
        </p:nvPicPr>
        <p:blipFill>
          <a:blip r:embed="rId27" cstate="print"/>
          <a:srcRect/>
          <a:stretch>
            <a:fillRect/>
          </a:stretch>
        </p:blipFill>
        <p:spPr bwMode="auto">
          <a:xfrm>
            <a:off x="3134512" y="3508264"/>
            <a:ext cx="156678" cy="256849"/>
          </a:xfrm>
          <a:prstGeom prst="rect">
            <a:avLst/>
          </a:prstGeom>
          <a:noFill/>
          <a:ln w="9525">
            <a:noFill/>
            <a:miter lim="800000"/>
            <a:headEnd/>
            <a:tailEnd/>
          </a:ln>
        </p:spPr>
      </p:pic>
      <p:sp>
        <p:nvSpPr>
          <p:cNvPr id="139" name="850507679"/>
          <p:cNvSpPr/>
          <p:nvPr/>
        </p:nvSpPr>
        <p:spPr>
          <a:xfrm>
            <a:off x="5488932" y="911440"/>
            <a:ext cx="756000" cy="144000"/>
          </a:xfrm>
          <a:prstGeom prst="rect">
            <a:avLst/>
          </a:prstGeom>
          <a:solidFill>
            <a:srgbClr val="66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8793"/>
            <a:r>
              <a:rPr lang="en-US" altLang="zh-CN" sz="800" dirty="0" smtClean="0">
                <a:solidFill>
                  <a:schemeClr val="tx1"/>
                </a:solidFill>
                <a:latin typeface="Arial" panose="020B0604020202020204" pitchFamily="34" charset="0"/>
                <a:ea typeface="微软雅黑" pitchFamily="34" charset="-122"/>
              </a:rPr>
              <a:t>Self-developed</a:t>
            </a:r>
            <a:endParaRPr lang="en-US" altLang="zh-CN" sz="800" dirty="0">
              <a:solidFill>
                <a:schemeClr val="tx1"/>
              </a:solidFill>
              <a:latin typeface="Arial" panose="020B0604020202020204" pitchFamily="34" charset="0"/>
              <a:ea typeface="微软雅黑" pitchFamily="34" charset="-122"/>
            </a:endParaRPr>
          </a:p>
        </p:txBody>
      </p:sp>
      <p:sp>
        <p:nvSpPr>
          <p:cNvPr id="140" name="3379419"/>
          <p:cNvSpPr/>
          <p:nvPr/>
        </p:nvSpPr>
        <p:spPr>
          <a:xfrm>
            <a:off x="6250765" y="911440"/>
            <a:ext cx="611759" cy="144000"/>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0" tIns="0" rIns="0" bIns="0" anchor="ctr" anchorCtr="0">
            <a:noAutofit/>
          </a:bodyPr>
          <a:lstStyle/>
          <a:p>
            <a:pPr algn="ctr" defTabSz="913909" eaLnBrk="0" fontAlgn="base" hangingPunct="0">
              <a:spcBef>
                <a:spcPct val="0"/>
              </a:spcBef>
              <a:spcAft>
                <a:spcPct val="0"/>
              </a:spcAft>
              <a:buClr>
                <a:srgbClr val="CC9900"/>
              </a:buClr>
            </a:pPr>
            <a:r>
              <a:rPr lang="en-US" altLang="zh-CN" sz="800" b="1" dirty="0" smtClean="0">
                <a:solidFill>
                  <a:prstClr val="white"/>
                </a:solidFill>
                <a:latin typeface="Arial" panose="020B0604020202020204" pitchFamily="34" charset="0"/>
                <a:ea typeface="微软雅黑" pitchFamily="34" charset="-122"/>
              </a:rPr>
              <a:t>Cooperation</a:t>
            </a:r>
            <a:endParaRPr lang="en-US" altLang="zh-CN" sz="800" b="1" dirty="0">
              <a:solidFill>
                <a:prstClr val="white"/>
              </a:solidFill>
              <a:latin typeface="Arial" panose="020B0604020202020204" pitchFamily="34" charset="0"/>
              <a:ea typeface="微软雅黑" pitchFamily="34" charset="-122"/>
            </a:endParaRPr>
          </a:p>
        </p:txBody>
      </p:sp>
      <p:sp>
        <p:nvSpPr>
          <p:cNvPr id="141" name="1962287598"/>
          <p:cNvSpPr>
            <a:spLocks noChangeArrowheads="1"/>
          </p:cNvSpPr>
          <p:nvPr>
            <p:custDataLst>
              <p:tags r:id="rId1"/>
            </p:custDataLst>
          </p:nvPr>
        </p:nvSpPr>
        <p:spPr bwMode="auto">
          <a:xfrm>
            <a:off x="4305128" y="997179"/>
            <a:ext cx="2598458" cy="3577927"/>
          </a:xfrm>
          <a:prstGeom prst="rect">
            <a:avLst/>
          </a:prstGeom>
          <a:noFill/>
          <a:ln w="9525">
            <a:noFill/>
            <a:miter lim="800000"/>
            <a:headEnd/>
            <a:tailEnd/>
          </a:ln>
        </p:spPr>
        <p:txBody>
          <a:bodyPr wrap="square" lIns="121944" tIns="60972" rIns="121944" bIns="60972">
            <a:spAutoFit/>
          </a:bodyPr>
          <a:lstStyle/>
          <a:p>
            <a:pPr marL="156665" indent="-156665" defTabSz="912466" eaLnBrk="0" hangingPunct="0">
              <a:spcAft>
                <a:spcPts val="100"/>
              </a:spcAft>
              <a:buClr>
                <a:srgbClr val="777777"/>
              </a:buClr>
              <a:buSzPct val="100000"/>
            </a:pPr>
            <a:r>
              <a:rPr lang="en-US" altLang="zh-CN" sz="1000" b="1" dirty="0" smtClean="0">
                <a:solidFill>
                  <a:srgbClr val="C00000"/>
                </a:solidFill>
                <a:latin typeface="Arial" pitchFamily="34" charset="0"/>
                <a:cs typeface="Arial" pitchFamily="34" charset="0"/>
              </a:rPr>
              <a:t>Customer pain points</a:t>
            </a:r>
            <a:endParaRPr lang="en-US" altLang="zh-CN" sz="1000" b="1" dirty="0">
              <a:solidFill>
                <a:srgbClr val="C00000"/>
              </a:solidFill>
              <a:latin typeface="Arial" pitchFamily="34" charset="0"/>
              <a:cs typeface="Arial" pitchFamily="34" charset="0"/>
            </a:endParaRP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Department information is isolated and cannot be shared or managed.</a:t>
            </a: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On-site information is invisible and the response speed is slow, making it hard to give command in real time.</a:t>
            </a: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There are large surveillance areas in the city and scenarios are complex, making it hard to cover all expected surveillance areas.</a:t>
            </a:r>
          </a:p>
          <a:p>
            <a:pPr marL="156665" indent="-156665" defTabSz="912466" eaLnBrk="0" hangingPunct="0">
              <a:spcAft>
                <a:spcPts val="100"/>
              </a:spcAft>
              <a:buClr>
                <a:srgbClr val="777777"/>
              </a:buClr>
              <a:buSzPct val="100000"/>
            </a:pPr>
            <a:r>
              <a:rPr lang="en-US" altLang="zh-CN" sz="1000" b="1" dirty="0" smtClean="0">
                <a:solidFill>
                  <a:srgbClr val="C00000"/>
                </a:solidFill>
                <a:latin typeface="Arial" pitchFamily="34" charset="0"/>
                <a:cs typeface="Arial" pitchFamily="34" charset="0"/>
              </a:rPr>
              <a:t>Customer benefits</a:t>
            </a: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Information resources are integrated and shared. Government administration efficiency is improved by </a:t>
            </a:r>
            <a:r>
              <a:rPr lang="en-US" altLang="zh-CN" sz="850" b="1" dirty="0" smtClean="0">
                <a:solidFill>
                  <a:srgbClr val="FF0000"/>
                </a:solidFill>
                <a:latin typeface="Arial" panose="020B0604020202020204" pitchFamily="34" charset="0"/>
                <a:ea typeface="微软雅黑" pitchFamily="34" charset="-122"/>
              </a:rPr>
              <a:t>50%</a:t>
            </a:r>
            <a:r>
              <a:rPr lang="en-US" altLang="zh-CN" sz="850" dirty="0" smtClean="0">
                <a:latin typeface="Arial" panose="020B0604020202020204" pitchFamily="34" charset="0"/>
                <a:ea typeface="微软雅黑" pitchFamily="34" charset="-122"/>
              </a:rPr>
              <a:t>.</a:t>
            </a:r>
            <a:endParaRPr lang="en-US" altLang="zh-CN" sz="850" b="1" dirty="0" smtClean="0">
              <a:solidFill>
                <a:srgbClr val="FF0000"/>
              </a:solidFill>
              <a:latin typeface="Arial" panose="020B0604020202020204" pitchFamily="34" charset="0"/>
              <a:ea typeface="微软雅黑" pitchFamily="34" charset="-122"/>
            </a:endParaRP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The public satisfaction rate improves by </a:t>
            </a:r>
            <a:r>
              <a:rPr lang="en-US" altLang="zh-CN" sz="850" b="1" dirty="0" smtClean="0">
                <a:solidFill>
                  <a:srgbClr val="FF0000"/>
                </a:solidFill>
                <a:latin typeface="Arial" panose="020B0604020202020204" pitchFamily="34" charset="0"/>
                <a:ea typeface="微软雅黑" pitchFamily="34" charset="-122"/>
              </a:rPr>
              <a:t>40%</a:t>
            </a:r>
            <a:r>
              <a:rPr lang="en-US" altLang="zh-CN" sz="850" dirty="0" smtClean="0">
                <a:latin typeface="Arial" panose="020B0604020202020204" pitchFamily="34" charset="0"/>
                <a:ea typeface="微软雅黑" pitchFamily="34" charset="-122"/>
              </a:rPr>
              <a:t> through real-time video backhaul, transparent law enforcement process, and whole-process monitoring.</a:t>
            </a:r>
            <a:endParaRPr lang="en-US" altLang="zh-CN" sz="850" b="1" dirty="0" smtClean="0">
              <a:solidFill>
                <a:srgbClr val="FF0000"/>
              </a:solidFill>
              <a:latin typeface="Arial" panose="020B0604020202020204" pitchFamily="34" charset="0"/>
              <a:ea typeface="微软雅黑" pitchFamily="34" charset="-122"/>
            </a:endParaRP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The eLTE-U adopts the compact and light design, supports </a:t>
            </a:r>
            <a:r>
              <a:rPr lang="en-US" altLang="zh-CN" sz="850" b="1" dirty="0" smtClean="0">
                <a:solidFill>
                  <a:srgbClr val="FF0000"/>
                </a:solidFill>
                <a:latin typeface="Arial" panose="020B0604020202020204" pitchFamily="34" charset="0"/>
                <a:ea typeface="微软雅黑" pitchFamily="34" charset="-122"/>
              </a:rPr>
              <a:t>Dual 100 MHz cells </a:t>
            </a:r>
            <a:r>
              <a:rPr lang="en-US" altLang="zh-CN" sz="850" dirty="0" smtClean="0">
                <a:latin typeface="Arial" panose="020B0604020202020204" pitchFamily="34" charset="0"/>
                <a:ea typeface="微软雅黑" pitchFamily="34" charset="-122"/>
              </a:rPr>
              <a:t>and </a:t>
            </a:r>
            <a:r>
              <a:rPr lang="en-US" altLang="zh-CN" sz="850" b="1" dirty="0" smtClean="0">
                <a:solidFill>
                  <a:srgbClr val="FF0000"/>
                </a:solidFill>
                <a:latin typeface="Arial" panose="020B0604020202020204" pitchFamily="34" charset="0"/>
                <a:ea typeface="微软雅黑" pitchFamily="34" charset="-122"/>
              </a:rPr>
              <a:t>36-channel HD video access</a:t>
            </a:r>
            <a:r>
              <a:rPr lang="en-US" altLang="zh-CN" sz="850" dirty="0" smtClean="0">
                <a:latin typeface="Arial" panose="020B0604020202020204" pitchFamily="34" charset="0"/>
                <a:ea typeface="微软雅黑" pitchFamily="34" charset="-122"/>
              </a:rPr>
              <a:t>, and does not require licensed spectrums.</a:t>
            </a: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The 4-in-1 terminal enables voice, law enforcement, video, and office functions.</a:t>
            </a:r>
          </a:p>
          <a:p>
            <a:pPr>
              <a:spcAft>
                <a:spcPts val="100"/>
              </a:spcAft>
              <a:buClr>
                <a:schemeClr val="tx1"/>
              </a:buClr>
              <a:buSzPct val="100000"/>
              <a:tabLst>
                <a:tab pos="239232" algn="l"/>
              </a:tabLst>
            </a:pPr>
            <a:r>
              <a:rPr lang="en-US" altLang="zh-CN" sz="1000" b="1" dirty="0" smtClean="0">
                <a:solidFill>
                  <a:srgbClr val="C00000"/>
                </a:solidFill>
                <a:latin typeface="Arial" pitchFamily="34" charset="0"/>
                <a:cs typeface="Arial" pitchFamily="34" charset="0"/>
              </a:rPr>
              <a:t>Maturity: </a:t>
            </a:r>
            <a:r>
              <a:rPr lang="en-US" altLang="zh-CN" sz="850" dirty="0" smtClean="0">
                <a:latin typeface="Arial" pitchFamily="34" charset="0"/>
                <a:cs typeface="Arial" pitchFamily="34" charset="0"/>
              </a:rPr>
              <a:t>global commercial use; Cases: Ghana, Spain, Nanjing, Shanghai, and </a:t>
            </a:r>
            <a:r>
              <a:rPr lang="en-US" altLang="zh-CN" sz="850" smtClean="0">
                <a:latin typeface="Arial" pitchFamily="34" charset="0"/>
                <a:cs typeface="Arial" pitchFamily="34" charset="0"/>
              </a:rPr>
              <a:t>Wujiang</a:t>
            </a:r>
            <a:endParaRPr lang="en-US" altLang="zh-CN" sz="850" dirty="0">
              <a:latin typeface="Arial"/>
              <a:ea typeface="微软雅黑" pitchFamily="34" charset="-122"/>
            </a:endParaRPr>
          </a:p>
        </p:txBody>
      </p:sp>
      <p:pic>
        <p:nvPicPr>
          <p:cNvPr id="146" name="图片 145" descr="C:\Users\lichu.HIK\Desktop\筒机系列1.jpg"/>
          <p:cNvPicPr/>
          <p:nvPr/>
        </p:nvPicPr>
        <p:blipFill>
          <a:blip r:embed="rId28" cstate="print">
            <a:extLst>
              <a:ext uri="{28A0092B-C50C-407E-A947-70E740481C1C}">
                <a14:useLocalDpi xmlns:a14="http://schemas.microsoft.com/office/drawing/2010/main" xmlns="" val="0"/>
              </a:ext>
            </a:extLst>
          </a:blip>
          <a:srcRect/>
          <a:stretch>
            <a:fillRect/>
          </a:stretch>
        </p:blipFill>
        <p:spPr bwMode="auto">
          <a:xfrm>
            <a:off x="3987773" y="3444057"/>
            <a:ext cx="222421" cy="90128"/>
          </a:xfrm>
          <a:prstGeom prst="rect">
            <a:avLst/>
          </a:prstGeom>
          <a:noFill/>
          <a:ln>
            <a:noFill/>
          </a:ln>
        </p:spPr>
      </p:pic>
      <p:sp>
        <p:nvSpPr>
          <p:cNvPr id="131" name="930757625"/>
          <p:cNvSpPr/>
          <p:nvPr/>
        </p:nvSpPr>
        <p:spPr>
          <a:xfrm>
            <a:off x="6523" y="4820781"/>
            <a:ext cx="756000" cy="144000"/>
          </a:xfrm>
          <a:prstGeom prst="rect">
            <a:avLst/>
          </a:prstGeom>
          <a:solidFill>
            <a:srgbClr val="66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8793"/>
            <a:r>
              <a:rPr lang="en-US" altLang="zh-CN" sz="800" dirty="0" smtClean="0">
                <a:solidFill>
                  <a:schemeClr val="tx1"/>
                </a:solidFill>
                <a:latin typeface="Arial" panose="020B0604020202020204" pitchFamily="34" charset="0"/>
                <a:ea typeface="微软雅黑" pitchFamily="34" charset="-122"/>
              </a:rPr>
              <a:t>Self-developed</a:t>
            </a:r>
            <a:endParaRPr lang="en-US" altLang="zh-CN" sz="800" dirty="0">
              <a:solidFill>
                <a:schemeClr val="tx1"/>
              </a:solidFill>
              <a:latin typeface="Arial" panose="020B0604020202020204" pitchFamily="34" charset="0"/>
              <a:ea typeface="微软雅黑" pitchFamily="34" charset="-122"/>
            </a:endParaRPr>
          </a:p>
        </p:txBody>
      </p:sp>
      <p:sp>
        <p:nvSpPr>
          <p:cNvPr id="132" name="1879088380"/>
          <p:cNvSpPr/>
          <p:nvPr/>
        </p:nvSpPr>
        <p:spPr>
          <a:xfrm>
            <a:off x="770537" y="4820781"/>
            <a:ext cx="611759" cy="144000"/>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0" tIns="0" rIns="0" bIns="0" anchor="ctr" anchorCtr="0">
            <a:noAutofit/>
          </a:bodyPr>
          <a:lstStyle/>
          <a:p>
            <a:pPr algn="ctr" defTabSz="913909" eaLnBrk="0" fontAlgn="base" hangingPunct="0">
              <a:spcBef>
                <a:spcPct val="0"/>
              </a:spcBef>
              <a:spcAft>
                <a:spcPct val="0"/>
              </a:spcAft>
              <a:buClr>
                <a:srgbClr val="CC9900"/>
              </a:buClr>
            </a:pPr>
            <a:r>
              <a:rPr lang="en-US" altLang="zh-CN" sz="800" b="1" dirty="0" smtClean="0">
                <a:solidFill>
                  <a:prstClr val="white"/>
                </a:solidFill>
                <a:latin typeface="Arial" panose="020B0604020202020204" pitchFamily="34" charset="0"/>
                <a:ea typeface="微软雅黑" pitchFamily="34" charset="-122"/>
              </a:rPr>
              <a:t>Cooperation</a:t>
            </a:r>
            <a:endParaRPr lang="en-US" altLang="zh-CN" sz="800" b="1" dirty="0">
              <a:solidFill>
                <a:prstClr val="white"/>
              </a:solidFill>
              <a:latin typeface="Arial" panose="020B0604020202020204" pitchFamily="34" charset="0"/>
              <a:ea typeface="微软雅黑" pitchFamily="34" charset="-122"/>
            </a:endParaRPr>
          </a:p>
        </p:txBody>
      </p:sp>
      <p:sp>
        <p:nvSpPr>
          <p:cNvPr id="142" name="442163670"/>
          <p:cNvSpPr>
            <a:spLocks noChangeArrowheads="1"/>
          </p:cNvSpPr>
          <p:nvPr>
            <p:custDataLst>
              <p:tags r:id="rId2"/>
            </p:custDataLst>
          </p:nvPr>
        </p:nvSpPr>
        <p:spPr bwMode="auto">
          <a:xfrm>
            <a:off x="-49356" y="4961270"/>
            <a:ext cx="2606527" cy="3303493"/>
          </a:xfrm>
          <a:prstGeom prst="rect">
            <a:avLst/>
          </a:prstGeom>
          <a:noFill/>
          <a:ln w="9525">
            <a:noFill/>
            <a:miter lim="800000"/>
            <a:headEnd/>
            <a:tailEnd/>
          </a:ln>
        </p:spPr>
        <p:txBody>
          <a:bodyPr wrap="square" lIns="121944" tIns="60972" rIns="121944" bIns="60972">
            <a:spAutoFit/>
          </a:bodyPr>
          <a:lstStyle/>
          <a:p>
            <a:pPr marL="156665" indent="-156665" defTabSz="912466" eaLnBrk="0" hangingPunct="0">
              <a:spcAft>
                <a:spcPts val="100"/>
              </a:spcAft>
              <a:buClr>
                <a:srgbClr val="777777"/>
              </a:buClr>
              <a:buSzPct val="100000"/>
            </a:pPr>
            <a:r>
              <a:rPr lang="en-US" altLang="zh-CN" sz="1000" b="1" dirty="0" smtClean="0">
                <a:solidFill>
                  <a:srgbClr val="C00000"/>
                </a:solidFill>
                <a:latin typeface="Arial" panose="020B0604020202020204" pitchFamily="34" charset="0"/>
                <a:cs typeface="Arial" pitchFamily="34" charset="0"/>
              </a:rPr>
              <a:t>Customer pain points</a:t>
            </a:r>
            <a:endParaRPr lang="en-US" altLang="zh-CN" sz="1000" b="1" dirty="0">
              <a:solidFill>
                <a:srgbClr val="C00000"/>
              </a:solidFill>
              <a:latin typeface="Arial" pitchFamily="34" charset="0"/>
              <a:cs typeface="Arial" pitchFamily="34" charset="0"/>
            </a:endParaRP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Traditional fire alarm devices with cables are hard to install due to </a:t>
            </a:r>
            <a:r>
              <a:rPr lang="en-US" altLang="zh-CN" sz="850" b="1" dirty="0" smtClean="0">
                <a:solidFill>
                  <a:srgbClr val="FF0000"/>
                </a:solidFill>
                <a:latin typeface="Arial" panose="020B0604020202020204" pitchFamily="34" charset="0"/>
                <a:ea typeface="微软雅黑" pitchFamily="34" charset="-122"/>
              </a:rPr>
              <a:t>cabling difficulties</a:t>
            </a:r>
            <a:r>
              <a:rPr lang="en-US" altLang="zh-CN" sz="850" dirty="0" smtClean="0">
                <a:latin typeface="Arial" panose="020B0604020202020204" pitchFamily="34" charset="0"/>
                <a:ea typeface="微软雅黑" pitchFamily="34" charset="-122"/>
              </a:rPr>
              <a:t>.</a:t>
            </a: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Construction affects citizens' and tourists' daily lives, and shop operations.</a:t>
            </a: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Fire alarms and fire-fighting facilities status are related to life and property security. Public bearer networks, however, cannot ensure </a:t>
            </a:r>
            <a:r>
              <a:rPr lang="en-US" altLang="zh-CN" sz="850" b="1" dirty="0" smtClean="0">
                <a:solidFill>
                  <a:srgbClr val="FF0000"/>
                </a:solidFill>
                <a:latin typeface="Arial" panose="020B0604020202020204" pitchFamily="34" charset="0"/>
                <a:ea typeface="微软雅黑" pitchFamily="34" charset="-122"/>
              </a:rPr>
              <a:t>network quality and communication security</a:t>
            </a:r>
            <a:r>
              <a:rPr lang="en-US" altLang="zh-CN" sz="850" dirty="0" smtClean="0">
                <a:latin typeface="Arial" panose="020B0604020202020204" pitchFamily="34" charset="0"/>
                <a:ea typeface="微软雅黑" pitchFamily="34" charset="-122"/>
              </a:rPr>
              <a:t>.</a:t>
            </a:r>
            <a:endParaRPr lang="en-US" altLang="zh-CN" sz="850" b="1" dirty="0" smtClean="0">
              <a:solidFill>
                <a:srgbClr val="FF0000"/>
              </a:solidFill>
              <a:latin typeface="Arial" panose="020B0604020202020204" pitchFamily="34" charset="0"/>
              <a:ea typeface="微软雅黑" pitchFamily="34" charset="-122"/>
            </a:endParaRPr>
          </a:p>
          <a:p>
            <a:pPr marL="156665" indent="-156665" defTabSz="912466" eaLnBrk="0" hangingPunct="0">
              <a:spcAft>
                <a:spcPts val="100"/>
              </a:spcAft>
              <a:buClr>
                <a:srgbClr val="777777"/>
              </a:buClr>
              <a:buSzPct val="100000"/>
            </a:pPr>
            <a:r>
              <a:rPr lang="en-US" altLang="zh-CN" sz="1000" b="1" dirty="0" smtClean="0">
                <a:solidFill>
                  <a:srgbClr val="C00000"/>
                </a:solidFill>
                <a:latin typeface="Arial" pitchFamily="34" charset="0"/>
                <a:cs typeface="Arial" pitchFamily="34" charset="0"/>
              </a:rPr>
              <a:t>Customer benefits</a:t>
            </a: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Devices are easy to install with no cables. The total cost of ownership (TCO) decreases by </a:t>
            </a:r>
            <a:r>
              <a:rPr lang="en-US" altLang="zh-CN" sz="850" b="1" dirty="0" smtClean="0">
                <a:solidFill>
                  <a:srgbClr val="FF0000"/>
                </a:solidFill>
                <a:latin typeface="Arial" panose="020B0604020202020204" pitchFamily="34" charset="0"/>
                <a:ea typeface="微软雅黑" pitchFamily="34" charset="-122"/>
              </a:rPr>
              <a:t>20%</a:t>
            </a:r>
            <a:r>
              <a:rPr lang="en-US" altLang="zh-CN" sz="850" dirty="0" smtClean="0">
                <a:latin typeface="Arial" panose="020B0604020202020204" pitchFamily="34" charset="0"/>
                <a:ea typeface="微软雅黑" pitchFamily="34" charset="-122"/>
              </a:rPr>
              <a:t>.</a:t>
            </a:r>
            <a:endParaRPr lang="en-US" altLang="zh-CN" sz="850" b="1" dirty="0" smtClean="0">
              <a:solidFill>
                <a:srgbClr val="FF0000"/>
              </a:solidFill>
              <a:latin typeface="Arial" panose="020B0604020202020204" pitchFamily="34" charset="0"/>
              <a:ea typeface="微软雅黑" pitchFamily="34" charset="-122"/>
            </a:endParaRP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Devices start to work upon being installed. The construction period is under control. It takes only </a:t>
            </a:r>
            <a:r>
              <a:rPr lang="en-US" altLang="zh-CN" sz="850" b="1" dirty="0" smtClean="0">
                <a:solidFill>
                  <a:srgbClr val="FF0000"/>
                </a:solidFill>
                <a:latin typeface="Arial" panose="020B0604020202020204" pitchFamily="34" charset="0"/>
                <a:ea typeface="微软雅黑" pitchFamily="34" charset="-122"/>
              </a:rPr>
              <a:t>five minutes</a:t>
            </a:r>
            <a:r>
              <a:rPr lang="en-US" altLang="zh-CN" sz="850" dirty="0" smtClean="0">
                <a:latin typeface="Arial" panose="020B0604020202020204" pitchFamily="34" charset="0"/>
                <a:ea typeface="微软雅黑" pitchFamily="34" charset="-122"/>
              </a:rPr>
              <a:t> to complete deployment in a shop.</a:t>
            </a:r>
          </a:p>
          <a:p>
            <a:pPr marL="90488" indent="-90488">
              <a:spcAft>
                <a:spcPts val="100"/>
              </a:spcAft>
              <a:buClr>
                <a:schemeClr val="tx1"/>
              </a:buClr>
              <a:buSzPct val="100000"/>
              <a:buFont typeface="Arial" panose="020B0604020202020204" pitchFamily="34" charset="0"/>
              <a:buChar char="•"/>
              <a:tabLst>
                <a:tab pos="239232" algn="l"/>
              </a:tabLst>
            </a:pPr>
            <a:r>
              <a:rPr lang="en-US" altLang="zh-CN" sz="850" b="1" dirty="0" smtClean="0">
                <a:solidFill>
                  <a:srgbClr val="FF0000"/>
                </a:solidFill>
                <a:latin typeface="Arial" panose="020B0604020202020204" pitchFamily="34" charset="0"/>
                <a:ea typeface="微软雅黑" pitchFamily="34" charset="-122"/>
              </a:rPr>
              <a:t>Dedicated</a:t>
            </a:r>
            <a:r>
              <a:rPr lang="en-US" altLang="zh-CN" sz="850" dirty="0" smtClean="0">
                <a:latin typeface="Arial" panose="020B0604020202020204" pitchFamily="34" charset="0"/>
                <a:ea typeface="微软雅黑" pitchFamily="34" charset="-122"/>
              </a:rPr>
              <a:t> eLTE-IoT emergency network prevents public network congestion and transmission faults affecting fire alarm emergency processing.</a:t>
            </a:r>
          </a:p>
          <a:p>
            <a:pPr>
              <a:spcAft>
                <a:spcPts val="100"/>
              </a:spcAft>
              <a:buClr>
                <a:schemeClr val="tx1"/>
              </a:buClr>
              <a:buSzPct val="100000"/>
              <a:tabLst>
                <a:tab pos="239232" algn="l"/>
              </a:tabLst>
            </a:pPr>
            <a:r>
              <a:rPr lang="en-US" altLang="zh-CN" sz="1000" b="1" dirty="0" smtClean="0">
                <a:solidFill>
                  <a:srgbClr val="C00000"/>
                </a:solidFill>
                <a:latin typeface="Arial" pitchFamily="34" charset="0"/>
                <a:cs typeface="Arial" pitchFamily="34" charset="0"/>
              </a:rPr>
              <a:t>Maturity: </a:t>
            </a:r>
            <a:r>
              <a:rPr lang="en-US" altLang="zh-CN" sz="850" dirty="0" smtClean="0">
                <a:latin typeface="Arial" pitchFamily="34" charset="0"/>
                <a:cs typeface="Arial" pitchFamily="34" charset="0"/>
              </a:rPr>
              <a:t>in pilot in </a:t>
            </a:r>
            <a:r>
              <a:rPr lang="en-US" altLang="zh-CN" sz="850" smtClean="0">
                <a:latin typeface="Arial" pitchFamily="34" charset="0"/>
                <a:cs typeface="Arial" pitchFamily="34" charset="0"/>
              </a:rPr>
              <a:t>China (Luohe </a:t>
            </a:r>
            <a:r>
              <a:rPr lang="en-US" altLang="zh-CN" sz="850" dirty="0" smtClean="0">
                <a:latin typeface="Arial" pitchFamily="34" charset="0"/>
                <a:cs typeface="Arial" pitchFamily="34" charset="0"/>
              </a:rPr>
              <a:t>fire fighting)</a:t>
            </a:r>
            <a:endParaRPr lang="en-US" altLang="zh-CN" sz="850" dirty="0">
              <a:latin typeface="Arial" panose="020B0604020202020204" pitchFamily="34" charset="0"/>
              <a:ea typeface="微软雅黑" pitchFamily="34" charset="-122"/>
            </a:endParaRPr>
          </a:p>
        </p:txBody>
      </p:sp>
      <p:grpSp>
        <p:nvGrpSpPr>
          <p:cNvPr id="6" name="258832255"/>
          <p:cNvGrpSpPr/>
          <p:nvPr/>
        </p:nvGrpSpPr>
        <p:grpSpPr>
          <a:xfrm>
            <a:off x="2544663" y="4912122"/>
            <a:ext cx="4268712" cy="3393752"/>
            <a:chOff x="102915" y="4998715"/>
            <a:chExt cx="4268712" cy="3393752"/>
          </a:xfrm>
        </p:grpSpPr>
        <p:sp>
          <p:nvSpPr>
            <p:cNvPr id="148" name="矩形 147"/>
            <p:cNvSpPr/>
            <p:nvPr/>
          </p:nvSpPr>
          <p:spPr bwMode="auto">
            <a:xfrm>
              <a:off x="106652" y="4998715"/>
              <a:ext cx="4264975" cy="3387739"/>
            </a:xfrm>
            <a:prstGeom prst="rect">
              <a:avLst/>
            </a:prstGeom>
            <a:noFill/>
            <a:ln w="9525" cap="flat" cmpd="sng" algn="ctr">
              <a:solidFill>
                <a:schemeClr val="tx2">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tabLst/>
              </a:pPr>
              <a:endParaRPr lang="zh-CN" altLang="en-US" dirty="0" smtClean="0">
                <a:latin typeface="Arial" panose="020B0604020202020204" pitchFamily="34" charset="0"/>
                <a:ea typeface="微软雅黑" panose="020B0503020204020204" pitchFamily="34" charset="-122"/>
                <a:cs typeface="Arial" panose="020B0604020202020204" pitchFamily="34" charset="0"/>
              </a:endParaRPr>
            </a:p>
          </p:txBody>
        </p:sp>
        <p:grpSp>
          <p:nvGrpSpPr>
            <p:cNvPr id="158" name="组合 157"/>
            <p:cNvGrpSpPr/>
            <p:nvPr/>
          </p:nvGrpSpPr>
          <p:grpSpPr>
            <a:xfrm>
              <a:off x="102915" y="7207721"/>
              <a:ext cx="1242643" cy="904919"/>
              <a:chOff x="388412" y="5938149"/>
              <a:chExt cx="1953281" cy="1340039"/>
            </a:xfrm>
          </p:grpSpPr>
          <p:cxnSp>
            <p:nvCxnSpPr>
              <p:cNvPr id="149" name="直接连接符 148"/>
              <p:cNvCxnSpPr/>
              <p:nvPr/>
            </p:nvCxnSpPr>
            <p:spPr>
              <a:xfrm>
                <a:off x="1912001" y="6228184"/>
                <a:ext cx="0" cy="877302"/>
              </a:xfrm>
              <a:prstGeom prst="line">
                <a:avLst/>
              </a:prstGeom>
              <a:noFill/>
              <a:ln w="9525" cap="flat" cmpd="sng" algn="ctr">
                <a:solidFill>
                  <a:srgbClr val="4584D3"/>
                </a:solidFill>
                <a:prstDash val="solid"/>
                <a:headEnd type="none" w="med" len="med"/>
                <a:tailEnd type="none" w="med" len="med"/>
              </a:ln>
              <a:effectLst/>
            </p:spPr>
          </p:cxnSp>
          <p:cxnSp>
            <p:nvCxnSpPr>
              <p:cNvPr id="150" name="直接连接符 149"/>
              <p:cNvCxnSpPr/>
              <p:nvPr/>
            </p:nvCxnSpPr>
            <p:spPr>
              <a:xfrm>
                <a:off x="880724" y="6230927"/>
                <a:ext cx="1031277" cy="0"/>
              </a:xfrm>
              <a:prstGeom prst="line">
                <a:avLst/>
              </a:prstGeom>
              <a:noFill/>
              <a:ln w="9525" cap="flat" cmpd="sng" algn="ctr">
                <a:solidFill>
                  <a:srgbClr val="4584D3"/>
                </a:solidFill>
                <a:prstDash val="solid"/>
                <a:headEnd type="none" w="med" len="med"/>
                <a:tailEnd type="none" w="med" len="med"/>
              </a:ln>
              <a:effectLst/>
            </p:spPr>
          </p:cxnSp>
          <p:cxnSp>
            <p:nvCxnSpPr>
              <p:cNvPr id="151" name="直接连接符 150"/>
              <p:cNvCxnSpPr/>
              <p:nvPr/>
            </p:nvCxnSpPr>
            <p:spPr>
              <a:xfrm>
                <a:off x="910746" y="7105486"/>
                <a:ext cx="1001255" cy="0"/>
              </a:xfrm>
              <a:prstGeom prst="line">
                <a:avLst/>
              </a:prstGeom>
              <a:noFill/>
              <a:ln w="9525" cap="flat" cmpd="sng" algn="ctr">
                <a:solidFill>
                  <a:srgbClr val="4584D3"/>
                </a:solidFill>
                <a:prstDash val="solid"/>
                <a:headEnd type="none" w="med" len="med"/>
                <a:tailEnd type="none" w="med" len="med"/>
              </a:ln>
              <a:effectLst/>
            </p:spPr>
          </p:cxnSp>
          <p:grpSp>
            <p:nvGrpSpPr>
              <p:cNvPr id="152" name="组合 151"/>
              <p:cNvGrpSpPr/>
              <p:nvPr/>
            </p:nvGrpSpPr>
            <p:grpSpPr>
              <a:xfrm>
                <a:off x="1735719" y="6223225"/>
                <a:ext cx="605974" cy="894051"/>
                <a:chOff x="1647114" y="4485998"/>
                <a:chExt cx="569989" cy="840959"/>
              </a:xfrm>
            </p:grpSpPr>
            <p:pic>
              <p:nvPicPr>
                <p:cNvPr id="153" name="图片 152"/>
                <p:cNvPicPr>
                  <a:picLocks noChangeAspect="1"/>
                </p:cNvPicPr>
                <p:nvPr/>
              </p:nvPicPr>
              <p:blipFill rotWithShape="1">
                <a:blip r:embed="rId29"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p:blipFill>
              <p:spPr>
                <a:xfrm>
                  <a:off x="1853339" y="4485998"/>
                  <a:ext cx="363764" cy="840959"/>
                </a:xfrm>
                <a:prstGeom prst="rect">
                  <a:avLst/>
                </a:prstGeom>
              </p:spPr>
            </p:pic>
            <p:pic>
              <p:nvPicPr>
                <p:cNvPr id="154" name="图片 153"/>
                <p:cNvPicPr>
                  <a:picLocks noChangeAspect="1"/>
                </p:cNvPicPr>
                <p:nvPr/>
              </p:nvPicPr>
              <p:blipFill rotWithShape="1">
                <a:blip r:embed="rId30"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p:blipFill>
              <p:spPr>
                <a:xfrm>
                  <a:off x="1647114" y="4669400"/>
                  <a:ext cx="388107" cy="560991"/>
                </a:xfrm>
                <a:prstGeom prst="rect">
                  <a:avLst/>
                </a:prstGeom>
              </p:spPr>
            </p:pic>
          </p:grpSp>
          <p:pic>
            <p:nvPicPr>
              <p:cNvPr id="155" name="图片 154"/>
              <p:cNvPicPr>
                <a:picLocks noChangeAspect="1"/>
              </p:cNvPicPr>
              <p:nvPr/>
            </p:nvPicPr>
            <p:blipFill>
              <a:blip r:embed="rId31" cstate="print">
                <a:clrChange>
                  <a:clrFrom>
                    <a:srgbClr val="FEFEFE"/>
                  </a:clrFrom>
                  <a:clrTo>
                    <a:srgbClr val="FEFEFE">
                      <a:alpha val="0"/>
                    </a:srgbClr>
                  </a:clrTo>
                </a:clrChange>
                <a:extLst>
                  <a:ext uri="{28A0092B-C50C-407E-A947-70E740481C1C}">
                    <a14:useLocalDpi xmlns:a14="http://schemas.microsoft.com/office/drawing/2010/main" xmlns="" val="0"/>
                  </a:ext>
                </a:extLst>
              </a:blip>
              <a:stretch>
                <a:fillRect/>
              </a:stretch>
            </p:blipFill>
            <p:spPr>
              <a:xfrm>
                <a:off x="867628" y="5949134"/>
                <a:ext cx="630409" cy="611922"/>
              </a:xfrm>
              <a:prstGeom prst="rect">
                <a:avLst/>
              </a:prstGeom>
            </p:spPr>
          </p:pic>
          <p:pic>
            <p:nvPicPr>
              <p:cNvPr id="156" name="图片 155"/>
              <p:cNvPicPr>
                <a:picLocks noChangeAspect="1"/>
              </p:cNvPicPr>
              <p:nvPr/>
            </p:nvPicPr>
            <p:blipFill>
              <a:blip r:embed="rId31" cstate="print">
                <a:clrChange>
                  <a:clrFrom>
                    <a:srgbClr val="FEFEFE"/>
                  </a:clrFrom>
                  <a:clrTo>
                    <a:srgbClr val="FEFEFE">
                      <a:alpha val="0"/>
                    </a:srgbClr>
                  </a:clrTo>
                </a:clrChange>
                <a:extLst>
                  <a:ext uri="{28A0092B-C50C-407E-A947-70E740481C1C}">
                    <a14:useLocalDpi xmlns:a14="http://schemas.microsoft.com/office/drawing/2010/main" xmlns="" val="0"/>
                  </a:ext>
                </a:extLst>
              </a:blip>
              <a:stretch>
                <a:fillRect/>
              </a:stretch>
            </p:blipFill>
            <p:spPr>
              <a:xfrm>
                <a:off x="394288" y="5938149"/>
                <a:ext cx="630409" cy="611922"/>
              </a:xfrm>
              <a:prstGeom prst="rect">
                <a:avLst/>
              </a:prstGeom>
            </p:spPr>
          </p:pic>
          <p:pic>
            <p:nvPicPr>
              <p:cNvPr id="157" name="图片 156"/>
              <p:cNvPicPr>
                <a:picLocks noChangeAspect="1"/>
              </p:cNvPicPr>
              <p:nvPr/>
            </p:nvPicPr>
            <p:blipFill>
              <a:blip r:embed="rId32" cstate="print">
                <a:clrChange>
                  <a:clrFrom>
                    <a:srgbClr val="FEFFFF"/>
                  </a:clrFrom>
                  <a:clrTo>
                    <a:srgbClr val="FEFFFF">
                      <a:alpha val="0"/>
                    </a:srgbClr>
                  </a:clrTo>
                </a:clrChange>
                <a:extLst>
                  <a:ext uri="{28A0092B-C50C-407E-A947-70E740481C1C}">
                    <a14:useLocalDpi xmlns:a14="http://schemas.microsoft.com/office/drawing/2010/main" xmlns="" val="0"/>
                  </a:ext>
                </a:extLst>
              </a:blip>
              <a:stretch>
                <a:fillRect/>
              </a:stretch>
            </p:blipFill>
            <p:spPr>
              <a:xfrm>
                <a:off x="388412" y="6816840"/>
                <a:ext cx="692022" cy="461348"/>
              </a:xfrm>
              <a:prstGeom prst="rect">
                <a:avLst/>
              </a:prstGeom>
            </p:spPr>
          </p:pic>
        </p:grpSp>
        <p:cxnSp>
          <p:nvCxnSpPr>
            <p:cNvPr id="159" name="直接连接符 158"/>
            <p:cNvCxnSpPr/>
            <p:nvPr/>
          </p:nvCxnSpPr>
          <p:spPr>
            <a:xfrm flipV="1">
              <a:off x="230499" y="7020272"/>
              <a:ext cx="3851791" cy="2"/>
            </a:xfrm>
            <a:prstGeom prst="line">
              <a:avLst/>
            </a:prstGeom>
          </p:spPr>
          <p:style>
            <a:lnRef idx="1">
              <a:schemeClr val="accent1"/>
            </a:lnRef>
            <a:fillRef idx="0">
              <a:schemeClr val="accent1"/>
            </a:fillRef>
            <a:effectRef idx="0">
              <a:schemeClr val="accent1"/>
            </a:effectRef>
            <a:fontRef idx="minor">
              <a:schemeClr val="tx1"/>
            </a:fontRef>
          </p:style>
        </p:cxnSp>
        <p:cxnSp>
          <p:nvCxnSpPr>
            <p:cNvPr id="161" name="直接连接符 160"/>
            <p:cNvCxnSpPr/>
            <p:nvPr/>
          </p:nvCxnSpPr>
          <p:spPr>
            <a:xfrm flipV="1">
              <a:off x="260648" y="6133314"/>
              <a:ext cx="3851791" cy="2"/>
            </a:xfrm>
            <a:prstGeom prst="line">
              <a:avLst/>
            </a:prstGeom>
          </p:spPr>
          <p:style>
            <a:lnRef idx="1">
              <a:schemeClr val="accent1"/>
            </a:lnRef>
            <a:fillRef idx="0">
              <a:schemeClr val="accent1"/>
            </a:fillRef>
            <a:effectRef idx="0">
              <a:schemeClr val="accent1"/>
            </a:effectRef>
            <a:fontRef idx="minor">
              <a:schemeClr val="tx1"/>
            </a:fontRef>
          </p:style>
        </p:cxnSp>
        <p:sp>
          <p:nvSpPr>
            <p:cNvPr id="163" name="Freeform 27"/>
            <p:cNvSpPr>
              <a:spLocks noEditPoints="1"/>
            </p:cNvSpPr>
            <p:nvPr/>
          </p:nvSpPr>
          <p:spPr bwMode="auto">
            <a:xfrm>
              <a:off x="1091514" y="6376642"/>
              <a:ext cx="1875358" cy="571622"/>
            </a:xfrm>
            <a:custGeom>
              <a:avLst/>
              <a:gdLst>
                <a:gd name="T0" fmla="*/ 2147483647 w 16443"/>
                <a:gd name="T1" fmla="*/ 2147483647 h 11487"/>
                <a:gd name="T2" fmla="*/ 2147483647 w 16443"/>
                <a:gd name="T3" fmla="*/ 2147483647 h 11487"/>
                <a:gd name="T4" fmla="*/ 2147483647 w 16443"/>
                <a:gd name="T5" fmla="*/ 2147483647 h 11487"/>
                <a:gd name="T6" fmla="*/ 2147483647 w 16443"/>
                <a:gd name="T7" fmla="*/ 2147483647 h 11487"/>
                <a:gd name="T8" fmla="*/ 2147483647 w 16443"/>
                <a:gd name="T9" fmla="*/ 2147483647 h 11487"/>
                <a:gd name="T10" fmla="*/ 2147483647 w 16443"/>
                <a:gd name="T11" fmla="*/ 2147483647 h 11487"/>
                <a:gd name="T12" fmla="*/ 2147483647 w 16443"/>
                <a:gd name="T13" fmla="*/ 2147483647 h 11487"/>
                <a:gd name="T14" fmla="*/ 2147483647 w 16443"/>
                <a:gd name="T15" fmla="*/ 2147483647 h 11487"/>
                <a:gd name="T16" fmla="*/ 2147483647 w 16443"/>
                <a:gd name="T17" fmla="*/ 2147483647 h 11487"/>
                <a:gd name="T18" fmla="*/ 2147483647 w 16443"/>
                <a:gd name="T19" fmla="*/ 2147483647 h 11487"/>
                <a:gd name="T20" fmla="*/ 2147483647 w 16443"/>
                <a:gd name="T21" fmla="*/ 2147483647 h 11487"/>
                <a:gd name="T22" fmla="*/ 2147483647 w 16443"/>
                <a:gd name="T23" fmla="*/ 2147483647 h 11487"/>
                <a:gd name="T24" fmla="*/ 2147483647 w 16443"/>
                <a:gd name="T25" fmla="*/ 2147483647 h 11487"/>
                <a:gd name="T26" fmla="*/ 2147483647 w 16443"/>
                <a:gd name="T27" fmla="*/ 2147483647 h 11487"/>
                <a:gd name="T28" fmla="*/ 2147483647 w 16443"/>
                <a:gd name="T29" fmla="*/ 2147483647 h 11487"/>
                <a:gd name="T30" fmla="*/ 2147483647 w 16443"/>
                <a:gd name="T31" fmla="*/ 2147483647 h 11487"/>
                <a:gd name="T32" fmla="*/ 2147483647 w 16443"/>
                <a:gd name="T33" fmla="*/ 2147483647 h 11487"/>
                <a:gd name="T34" fmla="*/ 2147483647 w 16443"/>
                <a:gd name="T35" fmla="*/ 2147483647 h 11487"/>
                <a:gd name="T36" fmla="*/ 2147483647 w 16443"/>
                <a:gd name="T37" fmla="*/ 2147483647 h 11487"/>
                <a:gd name="T38" fmla="*/ 2147483647 w 16443"/>
                <a:gd name="T39" fmla="*/ 2147483647 h 11487"/>
                <a:gd name="T40" fmla="*/ 2147483647 w 16443"/>
                <a:gd name="T41" fmla="*/ 2147483647 h 11487"/>
                <a:gd name="T42" fmla="*/ 2147483647 w 16443"/>
                <a:gd name="T43" fmla="*/ 2147483647 h 11487"/>
                <a:gd name="T44" fmla="*/ 2147483647 w 16443"/>
                <a:gd name="T45" fmla="*/ 2147483647 h 11487"/>
                <a:gd name="T46" fmla="*/ 2147483647 w 16443"/>
                <a:gd name="T47" fmla="*/ 2147483647 h 11487"/>
                <a:gd name="T48" fmla="*/ 2147483647 w 16443"/>
                <a:gd name="T49" fmla="*/ 2147483647 h 11487"/>
                <a:gd name="T50" fmla="*/ 2147483647 w 16443"/>
                <a:gd name="T51" fmla="*/ 2147483647 h 11487"/>
                <a:gd name="T52" fmla="*/ 2147483647 w 16443"/>
                <a:gd name="T53" fmla="*/ 2147483647 h 11487"/>
                <a:gd name="T54" fmla="*/ 2147483647 w 16443"/>
                <a:gd name="T55" fmla="*/ 2147483647 h 11487"/>
                <a:gd name="T56" fmla="*/ 2147483647 w 16443"/>
                <a:gd name="T57" fmla="*/ 2147483647 h 11487"/>
                <a:gd name="T58" fmla="*/ 2147483647 w 16443"/>
                <a:gd name="T59" fmla="*/ 2147483647 h 11487"/>
                <a:gd name="T60" fmla="*/ 2147483647 w 16443"/>
                <a:gd name="T61" fmla="*/ 2147483647 h 11487"/>
                <a:gd name="T62" fmla="*/ 2147483647 w 16443"/>
                <a:gd name="T63" fmla="*/ 2147483647 h 11487"/>
                <a:gd name="T64" fmla="*/ 2147483647 w 16443"/>
                <a:gd name="T65" fmla="*/ 2147483647 h 11487"/>
                <a:gd name="T66" fmla="*/ 2147483647 w 16443"/>
                <a:gd name="T67" fmla="*/ 2147483647 h 11487"/>
                <a:gd name="T68" fmla="*/ 2147483647 w 16443"/>
                <a:gd name="T69" fmla="*/ 2147483647 h 11487"/>
                <a:gd name="T70" fmla="*/ 2147483647 w 16443"/>
                <a:gd name="T71" fmla="*/ 2147483647 h 11487"/>
                <a:gd name="T72" fmla="*/ 2147483647 w 16443"/>
                <a:gd name="T73" fmla="*/ 2147483647 h 11487"/>
                <a:gd name="T74" fmla="*/ 2147483647 w 16443"/>
                <a:gd name="T75" fmla="*/ 2147483647 h 11487"/>
                <a:gd name="T76" fmla="*/ 2147483647 w 16443"/>
                <a:gd name="T77" fmla="*/ 2147483647 h 11487"/>
                <a:gd name="T78" fmla="*/ 2147483647 w 16443"/>
                <a:gd name="T79" fmla="*/ 2147483647 h 11487"/>
                <a:gd name="T80" fmla="*/ 2147483647 w 16443"/>
                <a:gd name="T81" fmla="*/ 2147483647 h 11487"/>
                <a:gd name="T82" fmla="*/ 2147483647 w 16443"/>
                <a:gd name="T83" fmla="*/ 2147483647 h 11487"/>
                <a:gd name="T84" fmla="*/ 2147483647 w 16443"/>
                <a:gd name="T85" fmla="*/ 2147483647 h 11487"/>
                <a:gd name="T86" fmla="*/ 2147483647 w 16443"/>
                <a:gd name="T87" fmla="*/ 2147483647 h 11487"/>
                <a:gd name="T88" fmla="*/ 2147483647 w 16443"/>
                <a:gd name="T89" fmla="*/ 2147483647 h 11487"/>
                <a:gd name="T90" fmla="*/ 2147483647 w 16443"/>
                <a:gd name="T91" fmla="*/ 2147483647 h 11487"/>
                <a:gd name="T92" fmla="*/ 2147483647 w 16443"/>
                <a:gd name="T93" fmla="*/ 2147483647 h 11487"/>
                <a:gd name="T94" fmla="*/ 2147483647 w 16443"/>
                <a:gd name="T95" fmla="*/ 2147483647 h 11487"/>
                <a:gd name="T96" fmla="*/ 2147483647 w 16443"/>
                <a:gd name="T97" fmla="*/ 2147483647 h 11487"/>
                <a:gd name="T98" fmla="*/ 2147483647 w 16443"/>
                <a:gd name="T99" fmla="*/ 2147483647 h 11487"/>
                <a:gd name="T100" fmla="*/ 2147483647 w 16443"/>
                <a:gd name="T101" fmla="*/ 2147483647 h 11487"/>
                <a:gd name="T102" fmla="*/ 2147483647 w 16443"/>
                <a:gd name="T103" fmla="*/ 2147483647 h 11487"/>
                <a:gd name="T104" fmla="*/ 2147483647 w 16443"/>
                <a:gd name="T105" fmla="*/ 2147483647 h 11487"/>
                <a:gd name="T106" fmla="*/ 2147483647 w 16443"/>
                <a:gd name="T107" fmla="*/ 2147483647 h 11487"/>
                <a:gd name="T108" fmla="*/ 2147483647 w 16443"/>
                <a:gd name="T109" fmla="*/ 2147483647 h 11487"/>
                <a:gd name="T110" fmla="*/ 2147483647 w 16443"/>
                <a:gd name="T111" fmla="*/ 2147483647 h 11487"/>
                <a:gd name="T112" fmla="*/ 2147483647 w 16443"/>
                <a:gd name="T113" fmla="*/ 2147483647 h 1148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443"/>
                <a:gd name="T172" fmla="*/ 0 h 11487"/>
                <a:gd name="T173" fmla="*/ 16443 w 16443"/>
                <a:gd name="T174" fmla="*/ 11487 h 1148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66FFFF"/>
            </a:solidFill>
            <a:ln>
              <a:noFill/>
            </a:ln>
          </p:spPr>
          <p:txBody>
            <a:bodyPr wrap="none" anchor="ctr"/>
            <a:lstStyle/>
            <a:p>
              <a:pPr eaLnBrk="1" hangingPunct="1">
                <a:defRPr/>
              </a:pPr>
              <a:endParaRPr lang="zh-CN" altLang="en-US" dirty="0">
                <a:solidFill>
                  <a:srgbClr val="000000"/>
                </a:solidFill>
                <a:latin typeface="Arial" panose="020B0604020202020204" pitchFamily="34" charset="0"/>
              </a:endParaRPr>
            </a:p>
          </p:txBody>
        </p:sp>
        <p:sp>
          <p:nvSpPr>
            <p:cNvPr id="165" name="TextBox 53"/>
            <p:cNvSpPr txBox="1">
              <a:spLocks noChangeArrowheads="1"/>
            </p:cNvSpPr>
            <p:nvPr/>
          </p:nvSpPr>
          <p:spPr bwMode="auto">
            <a:xfrm>
              <a:off x="1344231" y="6557312"/>
              <a:ext cx="1316177" cy="438582"/>
            </a:xfrm>
            <a:prstGeom prst="rect">
              <a:avLst/>
            </a:prstGeom>
            <a:noFill/>
            <a:ln w="9525">
              <a:noFill/>
              <a:miter lim="800000"/>
              <a:headEnd/>
              <a:tailEnd/>
            </a:ln>
          </p:spPr>
          <p:txBody>
            <a:bodyPr wrap="square">
              <a:spAutoFit/>
            </a:bodyPr>
            <a:lstStyle/>
            <a:p>
              <a:pPr algn="ctr"/>
              <a:r>
                <a:rPr lang="en-US" altLang="zh-CN" sz="1200" b="1" dirty="0" smtClean="0">
                  <a:latin typeface="Arial" panose="020B0604020202020204" pitchFamily="34" charset="0"/>
                  <a:ea typeface="微软雅黑" panose="020B0503020204020204" pitchFamily="34" charset="-122"/>
                </a:rPr>
                <a:t>eLTE-IoT</a:t>
              </a:r>
            </a:p>
            <a:p>
              <a:pPr algn="ctr"/>
              <a:r>
                <a:rPr lang="en-US" altLang="zh-CN" sz="1000" dirty="0" smtClean="0">
                  <a:latin typeface="Arial" panose="020B0604020202020204" pitchFamily="34" charset="0"/>
                  <a:ea typeface="微软雅黑" panose="020B0503020204020204" pitchFamily="34" charset="-122"/>
                </a:rPr>
                <a:t>ISM band</a:t>
              </a:r>
            </a:p>
          </p:txBody>
        </p:sp>
        <p:pic>
          <p:nvPicPr>
            <p:cNvPr id="171" name="Picture 2"/>
            <p:cNvPicPr>
              <a:picLocks noChangeAspect="1" noChangeArrowheads="1"/>
            </p:cNvPicPr>
            <p:nvPr/>
          </p:nvPicPr>
          <p:blipFill>
            <a:blip r:embed="rId33" cstate="email">
              <a:clrChange>
                <a:clrFrom>
                  <a:srgbClr val="FFFFFF"/>
                </a:clrFrom>
                <a:clrTo>
                  <a:srgbClr val="FFFFFF">
                    <a:alpha val="0"/>
                  </a:srgbClr>
                </a:clrTo>
              </a:clrChange>
            </a:blip>
            <a:srcRect/>
            <a:stretch>
              <a:fillRect/>
            </a:stretch>
          </p:blipFill>
          <p:spPr bwMode="auto">
            <a:xfrm>
              <a:off x="1822730" y="6148402"/>
              <a:ext cx="351001" cy="471719"/>
            </a:xfrm>
            <a:prstGeom prst="rect">
              <a:avLst/>
            </a:prstGeom>
            <a:noFill/>
            <a:ln w="9525">
              <a:noFill/>
              <a:miter lim="800000"/>
              <a:headEnd/>
              <a:tailEnd/>
            </a:ln>
            <a:effectLst/>
          </p:spPr>
        </p:pic>
        <p:pic>
          <p:nvPicPr>
            <p:cNvPr id="172" name="图片 171"/>
            <p:cNvPicPr>
              <a:picLocks noChangeAspect="1"/>
            </p:cNvPicPr>
            <p:nvPr/>
          </p:nvPicPr>
          <p:blipFill rotWithShape="1">
            <a:blip r:embed="rId34" cstate="print">
              <a:extLst>
                <a:ext uri="{28A0092B-C50C-407E-A947-70E740481C1C}">
                  <a14:useLocalDpi xmlns:a14="http://schemas.microsoft.com/office/drawing/2010/main" xmlns="" val="0"/>
                </a:ext>
              </a:extLst>
            </a:blip>
            <a:srcRect/>
            <a:stretch/>
          </p:blipFill>
          <p:spPr>
            <a:xfrm>
              <a:off x="1521878" y="7376099"/>
              <a:ext cx="1054139" cy="600092"/>
            </a:xfrm>
            <a:prstGeom prst="rect">
              <a:avLst/>
            </a:prstGeom>
            <a:ln w="38100" cap="sq">
              <a:noFill/>
              <a:prstDash val="solid"/>
              <a:miter lim="800000"/>
            </a:ln>
            <a:effectLst>
              <a:outerShdw blurRad="50800" dist="38100" dir="2700000" algn="tl" rotWithShape="0">
                <a:srgbClr val="000000">
                  <a:alpha val="43000"/>
                </a:srgbClr>
              </a:outerShdw>
            </a:effectLst>
          </p:spPr>
        </p:pic>
        <p:sp>
          <p:nvSpPr>
            <p:cNvPr id="174" name="矩形 173"/>
            <p:cNvSpPr/>
            <p:nvPr/>
          </p:nvSpPr>
          <p:spPr>
            <a:xfrm>
              <a:off x="2180705" y="7646046"/>
              <a:ext cx="446607" cy="151833"/>
            </a:xfrm>
            <a:prstGeom prst="rect">
              <a:avLst/>
            </a:prstGeom>
            <a:solidFill>
              <a:srgbClr val="99CCFF"/>
            </a:solidFill>
            <a:ln w="25400" cap="flat" cmpd="sng" algn="ctr">
              <a:noFill/>
              <a:prstDash val="solid"/>
            </a:ln>
            <a:effectLst/>
          </p:spPr>
          <p:txBody>
            <a:bodyPr rtlCol="0" anchor="ctr"/>
            <a:lstStyle/>
            <a:p>
              <a:pPr algn="ctr" fontAlgn="base">
                <a:spcBef>
                  <a:spcPct val="0"/>
                </a:spcBef>
                <a:spcAft>
                  <a:spcPct val="0"/>
                </a:spcAft>
                <a:defRPr/>
              </a:pPr>
              <a:endParaRPr lang="zh-CN" altLang="en-US" sz="1400" kern="0">
                <a:solidFill>
                  <a:srgbClr val="FFFFFF"/>
                </a:solidFill>
                <a:latin typeface="Arial" panose="020B0604020202020204" pitchFamily="34" charset="0"/>
                <a:ea typeface="宋体" charset="-122"/>
              </a:endParaRPr>
            </a:p>
          </p:txBody>
        </p:sp>
        <p:sp>
          <p:nvSpPr>
            <p:cNvPr id="175" name="矩形 174"/>
            <p:cNvSpPr/>
            <p:nvPr/>
          </p:nvSpPr>
          <p:spPr>
            <a:xfrm rot="5400000">
              <a:off x="2294798" y="7844529"/>
              <a:ext cx="214753" cy="115747"/>
            </a:xfrm>
            <a:prstGeom prst="rect">
              <a:avLst/>
            </a:prstGeom>
            <a:solidFill>
              <a:srgbClr val="99CCFF"/>
            </a:solidFill>
            <a:ln w="25400" cap="flat" cmpd="sng" algn="ctr">
              <a:noFill/>
              <a:prstDash val="solid"/>
            </a:ln>
            <a:effectLst/>
          </p:spPr>
          <p:txBody>
            <a:bodyPr rtlCol="0" anchor="ctr"/>
            <a:lstStyle/>
            <a:p>
              <a:pPr algn="ctr" fontAlgn="base">
                <a:spcBef>
                  <a:spcPct val="0"/>
                </a:spcBef>
                <a:spcAft>
                  <a:spcPct val="0"/>
                </a:spcAft>
                <a:defRPr/>
              </a:pPr>
              <a:endParaRPr lang="zh-CN" altLang="en-US" sz="1400" kern="0">
                <a:solidFill>
                  <a:srgbClr val="FFFFFF"/>
                </a:solidFill>
                <a:latin typeface="Arial" panose="020B0604020202020204" pitchFamily="34" charset="0"/>
                <a:ea typeface="宋体" charset="-122"/>
              </a:endParaRPr>
            </a:p>
          </p:txBody>
        </p:sp>
        <p:cxnSp>
          <p:nvCxnSpPr>
            <p:cNvPr id="176" name="直接连接符 175"/>
            <p:cNvCxnSpPr/>
            <p:nvPr/>
          </p:nvCxnSpPr>
          <p:spPr>
            <a:xfrm>
              <a:off x="2184532" y="7643970"/>
              <a:ext cx="446607" cy="0"/>
            </a:xfrm>
            <a:prstGeom prst="line">
              <a:avLst/>
            </a:prstGeom>
            <a:noFill/>
            <a:ln w="28575" cap="flat" cmpd="sng" algn="ctr">
              <a:solidFill>
                <a:srgbClr val="000000">
                  <a:lumMod val="75000"/>
                  <a:lumOff val="25000"/>
                </a:srgbClr>
              </a:solidFill>
              <a:prstDash val="solid"/>
            </a:ln>
            <a:effectLst/>
          </p:spPr>
        </p:cxnSp>
        <p:cxnSp>
          <p:nvCxnSpPr>
            <p:cNvPr id="177" name="直接连接符 176"/>
            <p:cNvCxnSpPr/>
            <p:nvPr/>
          </p:nvCxnSpPr>
          <p:spPr>
            <a:xfrm>
              <a:off x="2178871" y="7797879"/>
              <a:ext cx="165430" cy="0"/>
            </a:xfrm>
            <a:prstGeom prst="line">
              <a:avLst/>
            </a:prstGeom>
            <a:noFill/>
            <a:ln w="28575" cap="flat" cmpd="sng" algn="ctr">
              <a:solidFill>
                <a:srgbClr val="000000">
                  <a:lumMod val="75000"/>
                  <a:lumOff val="25000"/>
                </a:srgbClr>
              </a:solidFill>
              <a:prstDash val="solid"/>
            </a:ln>
            <a:effectLst/>
          </p:spPr>
        </p:cxnSp>
        <p:cxnSp>
          <p:nvCxnSpPr>
            <p:cNvPr id="178" name="直接连接符 177"/>
            <p:cNvCxnSpPr/>
            <p:nvPr/>
          </p:nvCxnSpPr>
          <p:spPr>
            <a:xfrm>
              <a:off x="2461883" y="7797879"/>
              <a:ext cx="165430" cy="0"/>
            </a:xfrm>
            <a:prstGeom prst="line">
              <a:avLst/>
            </a:prstGeom>
            <a:noFill/>
            <a:ln w="28575" cap="flat" cmpd="sng" algn="ctr">
              <a:solidFill>
                <a:srgbClr val="000000">
                  <a:lumMod val="75000"/>
                  <a:lumOff val="25000"/>
                </a:srgbClr>
              </a:solidFill>
              <a:prstDash val="solid"/>
            </a:ln>
            <a:effectLst/>
          </p:spPr>
        </p:cxnSp>
        <p:cxnSp>
          <p:nvCxnSpPr>
            <p:cNvPr id="179" name="直接连接符 178"/>
            <p:cNvCxnSpPr/>
            <p:nvPr/>
          </p:nvCxnSpPr>
          <p:spPr>
            <a:xfrm flipH="1">
              <a:off x="2339354" y="7795831"/>
              <a:ext cx="0" cy="217859"/>
            </a:xfrm>
            <a:prstGeom prst="line">
              <a:avLst/>
            </a:prstGeom>
            <a:noFill/>
            <a:ln w="28575" cap="flat" cmpd="sng" algn="ctr">
              <a:solidFill>
                <a:srgbClr val="000000">
                  <a:lumMod val="75000"/>
                  <a:lumOff val="25000"/>
                </a:srgbClr>
              </a:solidFill>
              <a:prstDash val="solid"/>
            </a:ln>
            <a:effectLst/>
          </p:spPr>
        </p:cxnSp>
        <p:cxnSp>
          <p:nvCxnSpPr>
            <p:cNvPr id="180" name="直接连接符 179"/>
            <p:cNvCxnSpPr/>
            <p:nvPr/>
          </p:nvCxnSpPr>
          <p:spPr>
            <a:xfrm flipH="1">
              <a:off x="2460941" y="7792728"/>
              <a:ext cx="0" cy="220962"/>
            </a:xfrm>
            <a:prstGeom prst="line">
              <a:avLst/>
            </a:prstGeom>
            <a:noFill/>
            <a:ln w="28575" cap="flat" cmpd="sng" algn="ctr">
              <a:solidFill>
                <a:srgbClr val="000000">
                  <a:lumMod val="75000"/>
                  <a:lumOff val="25000"/>
                </a:srgbClr>
              </a:solidFill>
              <a:prstDash val="solid"/>
            </a:ln>
            <a:effectLst/>
          </p:spPr>
        </p:cxnSp>
        <p:pic>
          <p:nvPicPr>
            <p:cNvPr id="189" name="图片 188"/>
            <p:cNvPicPr>
              <a:picLocks noChangeAspect="1"/>
            </p:cNvPicPr>
            <p:nvPr/>
          </p:nvPicPr>
          <p:blipFill>
            <a:blip r:embed="rId35" cstate="print"/>
            <a:stretch>
              <a:fillRect/>
            </a:stretch>
          </p:blipFill>
          <p:spPr>
            <a:xfrm rot="18401449">
              <a:off x="2092200" y="7711807"/>
              <a:ext cx="531141" cy="370481"/>
            </a:xfrm>
            <a:prstGeom prst="rect">
              <a:avLst/>
            </a:prstGeom>
          </p:spPr>
        </p:pic>
        <p:pic>
          <p:nvPicPr>
            <p:cNvPr id="147" name="图片 146"/>
            <p:cNvPicPr>
              <a:picLocks noChangeAspect="1"/>
            </p:cNvPicPr>
            <p:nvPr/>
          </p:nvPicPr>
          <p:blipFill>
            <a:blip r:embed="rId36" cstate="print">
              <a:extLst>
                <a:ext uri="{28A0092B-C50C-407E-A947-70E740481C1C}">
                  <a14:useLocalDpi xmlns:a14="http://schemas.microsoft.com/office/drawing/2010/main" xmlns="" val="0"/>
                </a:ext>
              </a:extLst>
            </a:blip>
            <a:stretch>
              <a:fillRect/>
            </a:stretch>
          </p:blipFill>
          <p:spPr>
            <a:xfrm>
              <a:off x="2677517" y="7300823"/>
              <a:ext cx="810608" cy="748253"/>
            </a:xfrm>
            <a:prstGeom prst="rect">
              <a:avLst/>
            </a:prstGeom>
          </p:spPr>
        </p:pic>
        <p:pic>
          <p:nvPicPr>
            <p:cNvPr id="160" name="图片 159"/>
            <p:cNvPicPr>
              <a:picLocks noChangeAspect="1"/>
            </p:cNvPicPr>
            <p:nvPr/>
          </p:nvPicPr>
          <p:blipFill rotWithShape="1">
            <a:blip r:embed="rId37" cstate="print">
              <a:extLst>
                <a:ext uri="{BEBA8EAE-BF5A-486C-A8C5-ECC9F3942E4B}">
                  <a14:imgProps xmlns:a14="http://schemas.microsoft.com/office/drawing/2010/main" xmlns="">
                    <a14:imgLayer r:embed="rId38">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a14="http://schemas.microsoft.com/office/drawing/2010/main" xmlns="" val="0"/>
                </a:ext>
              </a:extLst>
            </a:blip>
            <a:srcRect/>
            <a:stretch/>
          </p:blipFill>
          <p:spPr>
            <a:xfrm rot="13765517">
              <a:off x="2893519" y="7043959"/>
              <a:ext cx="254741" cy="287640"/>
            </a:xfrm>
            <a:prstGeom prst="rect">
              <a:avLst/>
            </a:prstGeom>
          </p:spPr>
        </p:pic>
        <p:sp>
          <p:nvSpPr>
            <p:cNvPr id="162" name="矩形 161"/>
            <p:cNvSpPr/>
            <p:nvPr/>
          </p:nvSpPr>
          <p:spPr>
            <a:xfrm>
              <a:off x="234252" y="8053913"/>
              <a:ext cx="1036840"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800" dirty="0" smtClean="0">
                  <a:solidFill>
                    <a:prstClr val="black"/>
                  </a:solidFill>
                  <a:latin typeface="Arial" panose="020B0604020202020204" pitchFamily="34" charset="0"/>
                  <a:ea typeface="微软雅黑"/>
                  <a:cs typeface="微软雅黑"/>
                </a:rPr>
                <a:t>Automatic fire alarm reporting</a:t>
              </a:r>
              <a:endParaRPr kumimoji="1" lang="zh-CN" altLang="en-US" sz="800" dirty="0">
                <a:solidFill>
                  <a:prstClr val="black"/>
                </a:solidFill>
                <a:latin typeface="Arial" panose="020B0604020202020204" pitchFamily="34" charset="0"/>
                <a:ea typeface="微软雅黑"/>
                <a:cs typeface="微软雅黑"/>
              </a:endParaRPr>
            </a:p>
          </p:txBody>
        </p:sp>
        <p:sp>
          <p:nvSpPr>
            <p:cNvPr id="164" name="矩形 163"/>
            <p:cNvSpPr/>
            <p:nvPr/>
          </p:nvSpPr>
          <p:spPr>
            <a:xfrm>
              <a:off x="1439218" y="8053913"/>
              <a:ext cx="1219458"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800" dirty="0" smtClean="0">
                  <a:solidFill>
                    <a:prstClr val="black"/>
                  </a:solidFill>
                  <a:latin typeface="Arial" panose="020B0604020202020204" pitchFamily="34" charset="0"/>
                  <a:ea typeface="微软雅黑"/>
                  <a:cs typeface="微软雅黑"/>
                </a:rPr>
                <a:t>Fire extinguishing pipe pressure monitoring</a:t>
              </a:r>
              <a:endParaRPr kumimoji="1" lang="zh-CN" altLang="en-US" sz="800" dirty="0">
                <a:solidFill>
                  <a:prstClr val="black"/>
                </a:solidFill>
                <a:latin typeface="Arial" panose="020B0604020202020204" pitchFamily="34" charset="0"/>
                <a:ea typeface="微软雅黑"/>
                <a:cs typeface="微软雅黑"/>
              </a:endParaRPr>
            </a:p>
          </p:txBody>
        </p:sp>
        <p:sp>
          <p:nvSpPr>
            <p:cNvPr id="166" name="矩形 165"/>
            <p:cNvSpPr/>
            <p:nvPr/>
          </p:nvSpPr>
          <p:spPr>
            <a:xfrm>
              <a:off x="2597716" y="8053913"/>
              <a:ext cx="970211"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800" dirty="0" smtClean="0">
                  <a:solidFill>
                    <a:prstClr val="black"/>
                  </a:solidFill>
                  <a:latin typeface="Arial" panose="020B0604020202020204" pitchFamily="34" charset="0"/>
                  <a:ea typeface="微软雅黑"/>
                  <a:cs typeface="微软雅黑"/>
                </a:rPr>
                <a:t>Fire hydrant status reporting</a:t>
              </a:r>
              <a:endParaRPr kumimoji="1" lang="zh-CN" altLang="en-US" sz="800" dirty="0">
                <a:solidFill>
                  <a:prstClr val="black"/>
                </a:solidFill>
                <a:latin typeface="Arial" panose="020B0604020202020204" pitchFamily="34" charset="0"/>
                <a:ea typeface="微软雅黑"/>
                <a:cs typeface="微软雅黑"/>
              </a:endParaRPr>
            </a:p>
          </p:txBody>
        </p:sp>
        <p:pic>
          <p:nvPicPr>
            <p:cNvPr id="167" name="图片 166"/>
            <p:cNvPicPr>
              <a:picLocks noChangeAspect="1"/>
            </p:cNvPicPr>
            <p:nvPr/>
          </p:nvPicPr>
          <p:blipFill rotWithShape="1">
            <a:blip r:embed="rId37" cstate="print">
              <a:extLst>
                <a:ext uri="{BEBA8EAE-BF5A-486C-A8C5-ECC9F3942E4B}">
                  <a14:imgProps xmlns:a14="http://schemas.microsoft.com/office/drawing/2010/main" xmlns="">
                    <a14:imgLayer r:embed="rId38">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a14="http://schemas.microsoft.com/office/drawing/2010/main" xmlns="" val="0"/>
                </a:ext>
              </a:extLst>
            </a:blip>
            <a:srcRect/>
            <a:stretch/>
          </p:blipFill>
          <p:spPr>
            <a:xfrm rot="16200000">
              <a:off x="1921577" y="7015820"/>
              <a:ext cx="254741" cy="287640"/>
            </a:xfrm>
            <a:prstGeom prst="rect">
              <a:avLst/>
            </a:prstGeom>
          </p:spPr>
        </p:pic>
        <p:pic>
          <p:nvPicPr>
            <p:cNvPr id="168" name="图片 167"/>
            <p:cNvPicPr>
              <a:picLocks noChangeAspect="1"/>
            </p:cNvPicPr>
            <p:nvPr/>
          </p:nvPicPr>
          <p:blipFill rotWithShape="1">
            <a:blip r:embed="rId37" cstate="print">
              <a:extLst>
                <a:ext uri="{BEBA8EAE-BF5A-486C-A8C5-ECC9F3942E4B}">
                  <a14:imgProps xmlns:a14="http://schemas.microsoft.com/office/drawing/2010/main" xmlns="">
                    <a14:imgLayer r:embed="rId38">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a14="http://schemas.microsoft.com/office/drawing/2010/main" xmlns="" val="0"/>
                </a:ext>
              </a:extLst>
            </a:blip>
            <a:srcRect/>
            <a:stretch/>
          </p:blipFill>
          <p:spPr>
            <a:xfrm rot="18765754">
              <a:off x="967069" y="7024849"/>
              <a:ext cx="254741" cy="287640"/>
            </a:xfrm>
            <a:prstGeom prst="rect">
              <a:avLst/>
            </a:prstGeom>
          </p:spPr>
        </p:pic>
        <p:sp>
          <p:nvSpPr>
            <p:cNvPr id="169" name="矩形 168"/>
            <p:cNvSpPr/>
            <p:nvPr/>
          </p:nvSpPr>
          <p:spPr>
            <a:xfrm>
              <a:off x="3385220" y="7300823"/>
              <a:ext cx="906002" cy="655553"/>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en-US" altLang="zh-CN" sz="700" b="1" dirty="0" smtClean="0">
                  <a:solidFill>
                    <a:prstClr val="white"/>
                  </a:solidFill>
                  <a:latin typeface="Arial" panose="020B0604020202020204" pitchFamily="34" charset="0"/>
                  <a:ea typeface="微软雅黑" pitchFamily="34" charset="-122"/>
                </a:rPr>
                <a:t>China Electronics Technology Group Corporation No. 38 Research Institute</a:t>
              </a:r>
            </a:p>
            <a:p>
              <a:pPr algn="ctr" defTabSz="913909" eaLnBrk="0" fontAlgn="base" hangingPunct="0">
                <a:spcBef>
                  <a:spcPct val="0"/>
                </a:spcBef>
                <a:spcAft>
                  <a:spcPct val="0"/>
                </a:spcAft>
                <a:buClr>
                  <a:srgbClr val="CC9900"/>
                </a:buClr>
              </a:pPr>
              <a:r>
                <a:rPr lang="en-US" altLang="zh-CN" sz="700" b="1" smtClean="0">
                  <a:solidFill>
                    <a:srgbClr val="FFFFFF"/>
                  </a:solidFill>
                  <a:latin typeface="Arial" panose="020B0604020202020204" pitchFamily="34" charset="0"/>
                  <a:ea typeface="微软雅黑" pitchFamily="34" charset="-122"/>
                </a:rPr>
                <a:t>Yunfan</a:t>
              </a:r>
              <a:r>
                <a:rPr lang="en-US" altLang="zh-CN" sz="700" b="1" smtClean="0">
                  <a:solidFill>
                    <a:prstClr val="white"/>
                  </a:solidFill>
                  <a:latin typeface="Arial" panose="020B0604020202020204" pitchFamily="34" charset="0"/>
                  <a:ea typeface="微软雅黑" pitchFamily="34" charset="-122"/>
                </a:rPr>
                <a:t> </a:t>
              </a:r>
              <a:r>
                <a:rPr lang="en-US" altLang="zh-CN" sz="700" b="1" dirty="0" smtClean="0">
                  <a:solidFill>
                    <a:prstClr val="white"/>
                  </a:solidFill>
                  <a:latin typeface="Arial" panose="020B0604020202020204" pitchFamily="34" charset="0"/>
                  <a:ea typeface="微软雅黑" pitchFamily="34" charset="-122"/>
                </a:rPr>
                <a:t>Technology</a:t>
              </a:r>
              <a:endParaRPr lang="en-US" altLang="zh-CN" sz="700" b="1" dirty="0">
                <a:solidFill>
                  <a:prstClr val="white"/>
                </a:solidFill>
                <a:latin typeface="Arial" panose="020B0604020202020204" pitchFamily="34" charset="0"/>
                <a:ea typeface="微软雅黑" pitchFamily="34" charset="-122"/>
              </a:endParaRPr>
            </a:p>
          </p:txBody>
        </p:sp>
        <p:pic>
          <p:nvPicPr>
            <p:cNvPr id="2" name="图片 1"/>
            <p:cNvPicPr>
              <a:picLocks noChangeAspect="1"/>
            </p:cNvPicPr>
            <p:nvPr/>
          </p:nvPicPr>
          <p:blipFill>
            <a:blip r:embed="rId39" cstate="print"/>
            <a:stretch>
              <a:fillRect/>
            </a:stretch>
          </p:blipFill>
          <p:spPr>
            <a:xfrm>
              <a:off x="373605" y="5021517"/>
              <a:ext cx="2939115" cy="638175"/>
            </a:xfrm>
            <a:prstGeom prst="rect">
              <a:avLst/>
            </a:prstGeom>
          </p:spPr>
        </p:pic>
        <p:sp>
          <p:nvSpPr>
            <p:cNvPr id="224" name="矩形 223"/>
            <p:cNvSpPr/>
            <p:nvPr/>
          </p:nvSpPr>
          <p:spPr>
            <a:xfrm>
              <a:off x="3385220" y="5062377"/>
              <a:ext cx="906002" cy="556455"/>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0" tIns="0" rIns="0" bIns="0" anchor="ctr" anchorCtr="0">
              <a:noAutofit/>
            </a:bodyPr>
            <a:lstStyle/>
            <a:p>
              <a:pPr algn="ctr" defTabSz="913909" eaLnBrk="0" fontAlgn="base" hangingPunct="0">
                <a:spcBef>
                  <a:spcPct val="0"/>
                </a:spcBef>
                <a:spcAft>
                  <a:spcPct val="0"/>
                </a:spcAft>
                <a:buClr>
                  <a:srgbClr val="CC9900"/>
                </a:buClr>
              </a:pPr>
              <a:r>
                <a:rPr lang="en-US" altLang="zh-CN" sz="700" b="1" dirty="0" smtClean="0">
                  <a:solidFill>
                    <a:prstClr val="white"/>
                  </a:solidFill>
                  <a:latin typeface="Arial" panose="020B0604020202020204" pitchFamily="34" charset="0"/>
                  <a:ea typeface="微软雅黑" pitchFamily="34" charset="-122"/>
                </a:rPr>
                <a:t>China Electronics Technology Group Corporation No. 38 Research Institute</a:t>
              </a:r>
            </a:p>
            <a:p>
              <a:pPr algn="ctr" defTabSz="913909" eaLnBrk="0" fontAlgn="base" hangingPunct="0">
                <a:spcBef>
                  <a:spcPct val="0"/>
                </a:spcBef>
                <a:spcAft>
                  <a:spcPct val="0"/>
                </a:spcAft>
                <a:buClr>
                  <a:srgbClr val="CC9900"/>
                </a:buClr>
              </a:pPr>
              <a:r>
                <a:rPr lang="en-US" altLang="zh-CN" sz="700" b="1" smtClean="0">
                  <a:solidFill>
                    <a:srgbClr val="FFFFFF"/>
                  </a:solidFill>
                  <a:latin typeface="Arial" panose="020B0604020202020204" pitchFamily="34" charset="0"/>
                  <a:ea typeface="微软雅黑" pitchFamily="34" charset="-122"/>
                </a:rPr>
                <a:t>Yunfan</a:t>
              </a:r>
              <a:r>
                <a:rPr lang="en-US" altLang="zh-CN" sz="700" b="1" smtClean="0">
                  <a:solidFill>
                    <a:prstClr val="white"/>
                  </a:solidFill>
                  <a:latin typeface="Arial" panose="020B0604020202020204" pitchFamily="34" charset="0"/>
                  <a:ea typeface="微软雅黑" pitchFamily="34" charset="-122"/>
                </a:rPr>
                <a:t> </a:t>
              </a:r>
              <a:r>
                <a:rPr lang="en-US" altLang="zh-CN" sz="700" b="1" dirty="0" smtClean="0">
                  <a:solidFill>
                    <a:prstClr val="white"/>
                  </a:solidFill>
                  <a:latin typeface="Arial" panose="020B0604020202020204" pitchFamily="34" charset="0"/>
                  <a:ea typeface="微软雅黑" pitchFamily="34" charset="-122"/>
                </a:rPr>
                <a:t>Technology</a:t>
              </a:r>
              <a:endParaRPr lang="en-US" altLang="zh-CN" sz="700" b="1" dirty="0">
                <a:solidFill>
                  <a:prstClr val="white"/>
                </a:solidFill>
                <a:latin typeface="Arial" panose="020B0604020202020204" pitchFamily="34" charset="0"/>
                <a:ea typeface="微软雅黑" pitchFamily="34" charset="-122"/>
              </a:endParaRPr>
            </a:p>
          </p:txBody>
        </p:sp>
        <p:sp>
          <p:nvSpPr>
            <p:cNvPr id="3" name="矩形 2"/>
            <p:cNvSpPr/>
            <p:nvPr/>
          </p:nvSpPr>
          <p:spPr>
            <a:xfrm>
              <a:off x="1354809" y="5583540"/>
              <a:ext cx="1000595" cy="215444"/>
            </a:xfrm>
            <a:prstGeom prst="rect">
              <a:avLst/>
            </a:prstGeom>
          </p:spPr>
          <p:txBody>
            <a:bodyPr wrap="none">
              <a:spAutoFit/>
            </a:bodyPr>
            <a:lstStyle/>
            <a:p>
              <a:r>
                <a:rPr lang="en-US" altLang="zh-CN" sz="800" dirty="0" smtClean="0">
                  <a:latin typeface="Arial" panose="020B0604020202020204" pitchFamily="34" charset="0"/>
                </a:rPr>
                <a:t>Fire alarm system</a:t>
              </a:r>
              <a:endParaRPr lang="en-US" altLang="zh-CN" sz="800" dirty="0">
                <a:latin typeface="Arial" panose="020B0604020202020204" pitchFamily="34" charset="0"/>
              </a:endParaRPr>
            </a:p>
          </p:txBody>
        </p:sp>
        <p:sp>
          <p:nvSpPr>
            <p:cNvPr id="225" name="矩形 224"/>
            <p:cNvSpPr/>
            <p:nvPr/>
          </p:nvSpPr>
          <p:spPr>
            <a:xfrm>
              <a:off x="2211389" y="5583540"/>
              <a:ext cx="1257436"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n-US" altLang="zh-CN" sz="800" dirty="0" smtClean="0">
                  <a:latin typeface="Arial" panose="020B0604020202020204" pitchFamily="34" charset="0"/>
                </a:rPr>
                <a:t>Push fire alarms to fire alarm departments</a:t>
              </a:r>
              <a:endParaRPr lang="zh-CN" altLang="en-US" sz="800" dirty="0">
                <a:latin typeface="Arial" panose="020B0604020202020204" pitchFamily="34" charset="0"/>
              </a:endParaRPr>
            </a:p>
          </p:txBody>
        </p:sp>
        <p:sp>
          <p:nvSpPr>
            <p:cNvPr id="226" name="矩形 225"/>
            <p:cNvSpPr/>
            <p:nvPr/>
          </p:nvSpPr>
          <p:spPr>
            <a:xfrm>
              <a:off x="190561" y="5583540"/>
              <a:ext cx="1156731"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n-US" altLang="zh-CN" sz="800" dirty="0" smtClean="0">
                  <a:latin typeface="Arial" panose="020B0604020202020204" pitchFamily="34" charset="0"/>
                </a:rPr>
                <a:t>Push fire alarms to enterprise managers</a:t>
              </a:r>
              <a:endParaRPr lang="zh-CN" altLang="en-US" sz="800" dirty="0">
                <a:latin typeface="Arial" panose="020B0604020202020204" pitchFamily="34" charset="0"/>
              </a:endParaRPr>
            </a:p>
          </p:txBody>
        </p:sp>
        <p:sp>
          <p:nvSpPr>
            <p:cNvPr id="4" name="下箭头 3"/>
            <p:cNvSpPr/>
            <p:nvPr/>
          </p:nvSpPr>
          <p:spPr>
            <a:xfrm rot="10800000">
              <a:off x="1919398" y="5954571"/>
              <a:ext cx="140598" cy="202241"/>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Arial" panose="020B0604020202020204" pitchFamily="34" charset="0"/>
              </a:endParaRPr>
            </a:p>
          </p:txBody>
        </p:sp>
        <p:sp>
          <p:nvSpPr>
            <p:cNvPr id="228" name="矩形 227"/>
            <p:cNvSpPr/>
            <p:nvPr/>
          </p:nvSpPr>
          <p:spPr>
            <a:xfrm>
              <a:off x="200203" y="5926162"/>
              <a:ext cx="1859793"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r>
                <a:rPr kumimoji="1" lang="en-US" altLang="zh-CN" sz="800" dirty="0" smtClean="0">
                  <a:solidFill>
                    <a:srgbClr val="073E87"/>
                  </a:solidFill>
                  <a:latin typeface="Arial" panose="020B0604020202020204" pitchFamily="34" charset="0"/>
                  <a:ea typeface="微软雅黑"/>
                  <a:cs typeface="微软雅黑"/>
                </a:rPr>
                <a:t>Fire alarm, fault, and violation event reporting</a:t>
              </a:r>
              <a:endParaRPr kumimoji="1" lang="zh-CN" altLang="en-US" sz="800" dirty="0">
                <a:solidFill>
                  <a:srgbClr val="073E87"/>
                </a:solidFill>
                <a:latin typeface="Arial" panose="020B0604020202020204" pitchFamily="34" charset="0"/>
                <a:ea typeface="微软雅黑"/>
                <a:cs typeface="微软雅黑"/>
              </a:endParaRPr>
            </a:p>
          </p:txBody>
        </p:sp>
      </p:grpSp>
    </p:spTree>
    <p:extLst>
      <p:ext uri="{BB962C8B-B14F-4D97-AF65-F5344CB8AC3E}">
        <p14:creationId xmlns:p14="http://schemas.microsoft.com/office/powerpoint/2010/main" xmlns="" val="48673536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74557582"/>
          <p:cNvSpPr txBox="1"/>
          <p:nvPr/>
        </p:nvSpPr>
        <p:spPr>
          <a:xfrm>
            <a:off x="0" y="611560"/>
            <a:ext cx="6857999" cy="338554"/>
          </a:xfrm>
          <a:prstGeom prst="rect">
            <a:avLst/>
          </a:prstGeom>
          <a:solidFill>
            <a:srgbClr val="2DA159"/>
          </a:solidFill>
        </p:spPr>
        <p:txBody>
          <a:bodyPr wrap="square" rtlCol="0">
            <a:spAutoFit/>
          </a:bodyPr>
          <a:lstStyle>
            <a:defPPr>
              <a:defRPr lang="zh-CN"/>
            </a:defPPr>
            <a:lvl1pPr>
              <a:defRPr b="1">
                <a:solidFill>
                  <a:schemeClr val="bg1"/>
                </a:solidFill>
                <a:latin typeface="+mj-ea"/>
                <a:ea typeface="+mj-ea"/>
              </a:defRPr>
            </a:lvl1pPr>
          </a:lstStyle>
          <a:p>
            <a:r>
              <a:rPr lang="en-US" altLang="zh-CN" sz="1600" dirty="0" smtClean="0">
                <a:latin typeface="Arial" panose="020B0604020202020204" pitchFamily="34" charset="0"/>
              </a:rPr>
              <a:t>City environment monitoring and IoT </a:t>
            </a:r>
            <a:r>
              <a:rPr lang="en-US" altLang="zh-CN" sz="1600" smtClean="0">
                <a:latin typeface="Arial" panose="020B0604020202020204" pitchFamily="34" charset="0"/>
              </a:rPr>
              <a:t>information is </a:t>
            </a:r>
            <a:r>
              <a:rPr lang="en-US" altLang="zh-CN" sz="1600" dirty="0" smtClean="0">
                <a:latin typeface="Arial" panose="020B0604020202020204" pitchFamily="34" charset="0"/>
              </a:rPr>
              <a:t>displayed.</a:t>
            </a:r>
            <a:endParaRPr lang="zh-CN" altLang="en-US" sz="1600" dirty="0">
              <a:latin typeface="Arial" panose="020B0604020202020204" pitchFamily="34" charset="0"/>
            </a:endParaRPr>
          </a:p>
        </p:txBody>
      </p:sp>
      <p:sp>
        <p:nvSpPr>
          <p:cNvPr id="98" name="522740861"/>
          <p:cNvSpPr txBox="1"/>
          <p:nvPr/>
        </p:nvSpPr>
        <p:spPr>
          <a:xfrm>
            <a:off x="-1258" y="4501153"/>
            <a:ext cx="6857999" cy="338554"/>
          </a:xfrm>
          <a:prstGeom prst="rect">
            <a:avLst/>
          </a:prstGeom>
          <a:solidFill>
            <a:srgbClr val="2DA159"/>
          </a:solidFill>
        </p:spPr>
        <p:txBody>
          <a:bodyPr wrap="square" rtlCol="0">
            <a:spAutoFit/>
          </a:bodyPr>
          <a:lstStyle>
            <a:defPPr>
              <a:defRPr lang="zh-CN"/>
            </a:defPPr>
            <a:lvl1pPr>
              <a:defRPr b="1">
                <a:solidFill>
                  <a:schemeClr val="bg1"/>
                </a:solidFill>
                <a:latin typeface="+mj-ea"/>
                <a:ea typeface="+mj-ea"/>
              </a:defRPr>
            </a:lvl1pPr>
          </a:lstStyle>
          <a:p>
            <a:pPr algn="r"/>
            <a:r>
              <a:rPr lang="en-US" altLang="zh-CN" sz="1600" dirty="0" smtClean="0">
                <a:latin typeface="Arial" panose="020B0604020202020204" pitchFamily="34" charset="0"/>
              </a:rPr>
              <a:t>eLTE enables a new management mode of intelligent street lamps.</a:t>
            </a:r>
            <a:endParaRPr lang="zh-CN" altLang="en-US" sz="1600" dirty="0">
              <a:latin typeface="Arial" panose="020B0604020202020204" pitchFamily="34" charset="0"/>
            </a:endParaRPr>
          </a:p>
        </p:txBody>
      </p:sp>
      <p:sp>
        <p:nvSpPr>
          <p:cNvPr id="102" name="932079278"/>
          <p:cNvSpPr>
            <a:spLocks noGrp="1"/>
          </p:cNvSpPr>
          <p:nvPr>
            <p:ph type="subTitle" idx="1"/>
          </p:nvPr>
        </p:nvSpPr>
        <p:spPr>
          <a:xfrm>
            <a:off x="-27659" y="145139"/>
            <a:ext cx="5256859" cy="538429"/>
          </a:xfrm>
        </p:spPr>
        <p:txBody>
          <a:bodyPr>
            <a:noAutofit/>
          </a:bodyPr>
          <a:lstStyle/>
          <a:p>
            <a:r>
              <a:rPr lang="en-US" altLang="zh-CN" sz="2000" b="1" dirty="0" smtClean="0">
                <a:latin typeface="Arial" panose="020B0604020202020204" pitchFamily="34" charset="0"/>
              </a:rPr>
              <a:t>Smart City Solution Scenarios – Greener</a:t>
            </a:r>
            <a:endParaRPr lang="zh-CN" altLang="en-US" sz="2000" b="1" dirty="0">
              <a:latin typeface="Arial" panose="020B0604020202020204" pitchFamily="34" charset="0"/>
            </a:endParaRPr>
          </a:p>
        </p:txBody>
      </p:sp>
      <p:sp>
        <p:nvSpPr>
          <p:cNvPr id="7" name="1213256467"/>
          <p:cNvSpPr>
            <a:spLocks noChangeArrowheads="1"/>
          </p:cNvSpPr>
          <p:nvPr>
            <p:custDataLst>
              <p:tags r:id="rId1"/>
            </p:custDataLst>
          </p:nvPr>
        </p:nvSpPr>
        <p:spPr bwMode="auto">
          <a:xfrm>
            <a:off x="-16520" y="4970140"/>
            <a:ext cx="2539896" cy="3362483"/>
          </a:xfrm>
          <a:prstGeom prst="rect">
            <a:avLst/>
          </a:prstGeom>
          <a:noFill/>
          <a:ln w="9525">
            <a:noFill/>
            <a:miter lim="800000"/>
            <a:headEnd/>
            <a:tailEnd/>
          </a:ln>
        </p:spPr>
        <p:txBody>
          <a:bodyPr wrap="square" lIns="121944" tIns="60972" rIns="121944" bIns="60972">
            <a:spAutoFit/>
          </a:bodyPr>
          <a:lstStyle/>
          <a:p>
            <a:pPr marL="156665" indent="-156665" defTabSz="912466" eaLnBrk="0" hangingPunct="0">
              <a:spcAft>
                <a:spcPts val="100"/>
              </a:spcAft>
              <a:buClr>
                <a:srgbClr val="777777"/>
              </a:buClr>
              <a:buSzPct val="100000"/>
            </a:pPr>
            <a:r>
              <a:rPr lang="en-US" altLang="zh-CN" sz="1100" b="1" dirty="0" smtClean="0">
                <a:solidFill>
                  <a:srgbClr val="C00000"/>
                </a:solidFill>
                <a:latin typeface="Arial" panose="020B0604020202020204" pitchFamily="34" charset="0"/>
                <a:cs typeface="Arial" pitchFamily="34" charset="0"/>
              </a:rPr>
              <a:t>Customer pain points</a:t>
            </a:r>
            <a:endParaRPr lang="en-US" altLang="zh-CN" sz="1100" b="1" dirty="0">
              <a:solidFill>
                <a:srgbClr val="C00000"/>
              </a:solidFill>
              <a:latin typeface="Arial" pitchFamily="34" charset="0"/>
              <a:cs typeface="Arial" pitchFamily="34" charset="0"/>
            </a:endParaRPr>
          </a:p>
          <a:p>
            <a:pPr marL="90488" lvl="0"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Energy bills increase sharply. </a:t>
            </a:r>
            <a:r>
              <a:rPr lang="en-US" altLang="zh-CN" sz="850" b="1" dirty="0" smtClean="0">
                <a:solidFill>
                  <a:srgbClr val="FF0000"/>
                </a:solidFill>
                <a:latin typeface="Arial" panose="020B0604020202020204" pitchFamily="34" charset="0"/>
                <a:ea typeface="微软雅黑" pitchFamily="34" charset="-122"/>
              </a:rPr>
              <a:t>30-50%</a:t>
            </a:r>
            <a:r>
              <a:rPr lang="en-US" altLang="zh-CN" sz="850" dirty="0" smtClean="0">
                <a:latin typeface="Arial" panose="020B0604020202020204" pitchFamily="34" charset="0"/>
                <a:ea typeface="微软雅黑" pitchFamily="34" charset="-122"/>
              </a:rPr>
              <a:t> of public mains is used for street lighting.</a:t>
            </a:r>
          </a:p>
          <a:p>
            <a:pPr marL="90488" lvl="0"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Maintenance costs are high and </a:t>
            </a:r>
            <a:r>
              <a:rPr lang="en-US" altLang="zh-CN" sz="850" b="1" dirty="0" smtClean="0">
                <a:solidFill>
                  <a:srgbClr val="FF0000"/>
                </a:solidFill>
                <a:latin typeface="Arial" panose="020B0604020202020204" pitchFamily="34" charset="0"/>
                <a:ea typeface="微软雅黑" pitchFamily="34" charset="-122"/>
              </a:rPr>
              <a:t>faults are difficult to locate</a:t>
            </a:r>
            <a:r>
              <a:rPr lang="en-US" altLang="zh-CN" sz="850" dirty="0" smtClean="0">
                <a:latin typeface="Arial" panose="020B0604020202020204" pitchFamily="34" charset="0"/>
                <a:ea typeface="微软雅黑" pitchFamily="34" charset="-122"/>
              </a:rPr>
              <a:t>.</a:t>
            </a:r>
            <a:endParaRPr lang="en-US" altLang="zh-CN" sz="850" b="1" dirty="0">
              <a:solidFill>
                <a:srgbClr val="FF0000"/>
              </a:solidFill>
              <a:latin typeface="Arial" panose="020B0604020202020204" pitchFamily="34" charset="0"/>
              <a:ea typeface="微软雅黑" pitchFamily="34" charset="-122"/>
            </a:endParaRP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The ZigBee mode cannot carry large-scale networking and multi-hop transmission delay is uncontrollable. The PLC mode is interfered by line impedance changes, resulting in poor communication reliability.</a:t>
            </a:r>
          </a:p>
          <a:p>
            <a:pPr marL="156665" indent="-156665" defTabSz="912466" eaLnBrk="0" hangingPunct="0">
              <a:spcAft>
                <a:spcPts val="100"/>
              </a:spcAft>
              <a:buClr>
                <a:srgbClr val="777777"/>
              </a:buClr>
              <a:buSzPct val="100000"/>
            </a:pPr>
            <a:r>
              <a:rPr lang="en-US" altLang="zh-CN" sz="1100" b="1" dirty="0" smtClean="0">
                <a:solidFill>
                  <a:srgbClr val="C00000"/>
                </a:solidFill>
                <a:latin typeface="Arial" pitchFamily="34" charset="0"/>
                <a:cs typeface="Arial" pitchFamily="34" charset="0"/>
              </a:rPr>
              <a:t>Customer benefits</a:t>
            </a: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Single-lamp lighting is controlled with one hop, effectively saving energy by </a:t>
            </a:r>
            <a:r>
              <a:rPr lang="en-US" altLang="zh-CN" sz="850" b="1" dirty="0" smtClean="0">
                <a:solidFill>
                  <a:srgbClr val="FF0000"/>
                </a:solidFill>
                <a:latin typeface="Arial" panose="020B0604020202020204" pitchFamily="34" charset="0"/>
                <a:ea typeface="微软雅黑" pitchFamily="34" charset="-122"/>
              </a:rPr>
              <a:t>30%</a:t>
            </a:r>
            <a:r>
              <a:rPr lang="en-US" altLang="zh-CN" sz="850" dirty="0" smtClean="0">
                <a:latin typeface="Arial" panose="020B0604020202020204" pitchFamily="34" charset="0"/>
                <a:ea typeface="微软雅黑" pitchFamily="34" charset="-122"/>
              </a:rPr>
              <a:t>.</a:t>
            </a:r>
            <a:endParaRPr lang="en-US" altLang="zh-CN" sz="850" b="1" dirty="0" smtClean="0">
              <a:solidFill>
                <a:srgbClr val="FF0000"/>
              </a:solidFill>
              <a:latin typeface="Arial" panose="020B0604020202020204" pitchFamily="34" charset="0"/>
              <a:ea typeface="微软雅黑" pitchFamily="34" charset="-122"/>
            </a:endParaRP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Policies and parameters are remotely set. Faults are automatically reported. </a:t>
            </a:r>
            <a:r>
              <a:rPr lang="en-US" altLang="zh-CN" sz="850" b="1" dirty="0" smtClean="0">
                <a:solidFill>
                  <a:srgbClr val="FF0000"/>
                </a:solidFill>
                <a:latin typeface="Arial" panose="020B0604020202020204" pitchFamily="34" charset="0"/>
                <a:ea typeface="微软雅黑" pitchFamily="34" charset="-122"/>
              </a:rPr>
              <a:t>No </a:t>
            </a:r>
            <a:r>
              <a:rPr lang="en-US" altLang="zh-CN" sz="850" dirty="0" smtClean="0">
                <a:latin typeface="Arial" panose="020B0604020202020204" pitchFamily="34" charset="0"/>
                <a:ea typeface="微软雅黑" pitchFamily="34" charset="-122"/>
              </a:rPr>
              <a:t>maintenance costs are incurred.</a:t>
            </a: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The TCO in the non-cable mode is </a:t>
            </a:r>
            <a:r>
              <a:rPr lang="en-US" altLang="zh-CN" sz="850" b="1" dirty="0" smtClean="0">
                <a:solidFill>
                  <a:srgbClr val="FF0000"/>
                </a:solidFill>
                <a:latin typeface="Arial" panose="020B0604020202020204" pitchFamily="34" charset="0"/>
                <a:ea typeface="微软雅黑" pitchFamily="34" charset="-122"/>
              </a:rPr>
              <a:t>50% </a:t>
            </a:r>
            <a:r>
              <a:rPr lang="en-US" altLang="zh-CN" sz="850" dirty="0" smtClean="0">
                <a:latin typeface="Arial" panose="020B0604020202020204" pitchFamily="34" charset="0"/>
                <a:ea typeface="微软雅黑" pitchFamily="34" charset="-122"/>
              </a:rPr>
              <a:t>lower than that in the cable mode.</a:t>
            </a:r>
            <a:endParaRPr lang="en-US" altLang="zh-CN" sz="850" b="1" dirty="0" smtClean="0">
              <a:solidFill>
                <a:srgbClr val="FF0000"/>
              </a:solidFill>
              <a:latin typeface="Arial" panose="020B0604020202020204" pitchFamily="34" charset="0"/>
              <a:ea typeface="微软雅黑" pitchFamily="34" charset="-122"/>
            </a:endParaRP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Broadband and narrowband services are integrated. Lamp-post address resources are fully utilized to provide </a:t>
            </a:r>
            <a:r>
              <a:rPr lang="en-US" altLang="zh-CN" sz="850" b="1" dirty="0" smtClean="0">
                <a:solidFill>
                  <a:srgbClr val="FF0000"/>
                </a:solidFill>
                <a:latin typeface="Arial" panose="020B0604020202020204" pitchFamily="34" charset="0"/>
                <a:ea typeface="微软雅黑" pitchFamily="34" charset="-122"/>
              </a:rPr>
              <a:t>value-added services</a:t>
            </a:r>
            <a:r>
              <a:rPr lang="en-US" altLang="zh-CN" sz="850" dirty="0" smtClean="0">
                <a:latin typeface="Arial" panose="020B0604020202020204" pitchFamily="34" charset="0"/>
                <a:ea typeface="微软雅黑" pitchFamily="34" charset="-122"/>
              </a:rPr>
              <a:t>, improving economic benefits.</a:t>
            </a:r>
            <a:endParaRPr lang="en-US" altLang="zh-CN" sz="850" dirty="0">
              <a:latin typeface="Arial" panose="020B0604020202020204" pitchFamily="34" charset="0"/>
              <a:ea typeface="微软雅黑" pitchFamily="34" charset="-122"/>
            </a:endParaRPr>
          </a:p>
          <a:p>
            <a:pPr>
              <a:spcAft>
                <a:spcPts val="100"/>
              </a:spcAft>
              <a:buClr>
                <a:schemeClr val="tx1"/>
              </a:buClr>
              <a:buSzPct val="100000"/>
              <a:tabLst>
                <a:tab pos="239232" algn="l"/>
              </a:tabLst>
            </a:pPr>
            <a:r>
              <a:rPr lang="en-US" altLang="zh-CN" sz="1100" b="1" dirty="0" smtClean="0">
                <a:solidFill>
                  <a:srgbClr val="C00000"/>
                </a:solidFill>
                <a:latin typeface="Arial" pitchFamily="34" charset="0"/>
                <a:cs typeface="Arial" pitchFamily="34" charset="0"/>
              </a:rPr>
              <a:t>Maturity: </a:t>
            </a:r>
            <a:r>
              <a:rPr lang="en-US" altLang="zh-CN" sz="850" dirty="0" smtClean="0">
                <a:latin typeface="Arial" pitchFamily="34" charset="0"/>
                <a:cs typeface="Arial" pitchFamily="34" charset="0"/>
              </a:rPr>
              <a:t>in pilot in China </a:t>
            </a:r>
            <a:endParaRPr lang="en-US" altLang="zh-CN" sz="850" dirty="0">
              <a:latin typeface="Arial" panose="020B0604020202020204" pitchFamily="34" charset="0"/>
              <a:ea typeface="微软雅黑" pitchFamily="34" charset="-122"/>
            </a:endParaRPr>
          </a:p>
        </p:txBody>
      </p:sp>
      <p:sp>
        <p:nvSpPr>
          <p:cNvPr id="50" name="1692296851"/>
          <p:cNvSpPr>
            <a:spLocks noChangeArrowheads="1"/>
          </p:cNvSpPr>
          <p:nvPr>
            <p:custDataLst>
              <p:tags r:id="rId2"/>
            </p:custDataLst>
          </p:nvPr>
        </p:nvSpPr>
        <p:spPr bwMode="auto">
          <a:xfrm>
            <a:off x="4221088" y="1154980"/>
            <a:ext cx="2602731" cy="3434298"/>
          </a:xfrm>
          <a:prstGeom prst="rect">
            <a:avLst/>
          </a:prstGeom>
          <a:noFill/>
          <a:ln w="9525">
            <a:noFill/>
            <a:miter lim="800000"/>
            <a:headEnd/>
            <a:tailEnd/>
          </a:ln>
        </p:spPr>
        <p:txBody>
          <a:bodyPr wrap="square" lIns="121944" tIns="60972" rIns="121944" bIns="60972">
            <a:spAutoFit/>
          </a:bodyPr>
          <a:lstStyle/>
          <a:p>
            <a:pPr marL="156665" indent="-156665" defTabSz="912466" eaLnBrk="0" hangingPunct="0">
              <a:spcAft>
                <a:spcPts val="100"/>
              </a:spcAft>
              <a:buClr>
                <a:srgbClr val="777777"/>
              </a:buClr>
              <a:buSzPct val="100000"/>
            </a:pPr>
            <a:r>
              <a:rPr lang="en-US" altLang="zh-CN" sz="1000" b="1" dirty="0" smtClean="0">
                <a:solidFill>
                  <a:srgbClr val="C00000"/>
                </a:solidFill>
                <a:latin typeface="Arial" panose="020B0604020202020204" pitchFamily="34" charset="0"/>
                <a:cs typeface="Arial" pitchFamily="34" charset="0"/>
              </a:rPr>
              <a:t>Customer pain points</a:t>
            </a:r>
            <a:endParaRPr lang="en-US" altLang="zh-CN" sz="1000" b="1" dirty="0">
              <a:solidFill>
                <a:srgbClr val="C00000"/>
              </a:solidFill>
              <a:latin typeface="Arial" pitchFamily="34" charset="0"/>
              <a:cs typeface="Arial" pitchFamily="34" charset="0"/>
            </a:endParaRP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Diverse terminals are used, resulting in co-existence of multiple vendors and networks. This makes O&amp;M difficult. Customers are willing to improve networking.</a:t>
            </a: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The existing RFID/ZigBee/Wi-Fi solution has small coverage and involves multiple nodes. Connection reliability is affected by the environment. Services can hardly be expanded.</a:t>
            </a:r>
          </a:p>
          <a:p>
            <a:pPr marL="156665" indent="-156665" defTabSz="912466" eaLnBrk="0" hangingPunct="0">
              <a:spcAft>
                <a:spcPts val="100"/>
              </a:spcAft>
              <a:buClr>
                <a:srgbClr val="777777"/>
              </a:buClr>
              <a:buSzPct val="100000"/>
            </a:pPr>
            <a:r>
              <a:rPr lang="en-US" altLang="zh-CN" sz="1000" b="1" dirty="0" smtClean="0">
                <a:solidFill>
                  <a:srgbClr val="C00000"/>
                </a:solidFill>
                <a:latin typeface="Arial" pitchFamily="34" charset="0"/>
                <a:cs typeface="Arial" pitchFamily="34" charset="0"/>
              </a:rPr>
              <a:t>Customer benefits</a:t>
            </a: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A maximum of </a:t>
            </a:r>
            <a:r>
              <a:rPr lang="en-US" altLang="zh-CN" sz="850" b="1" dirty="0" smtClean="0">
                <a:solidFill>
                  <a:srgbClr val="FF0000"/>
                </a:solidFill>
                <a:latin typeface="Arial" panose="020B0604020202020204" pitchFamily="34" charset="0"/>
                <a:ea typeface="微软雅黑" pitchFamily="34" charset="-122"/>
              </a:rPr>
              <a:t>10-km</a:t>
            </a:r>
            <a:r>
              <a:rPr lang="en-US" altLang="zh-CN" sz="850" b="1" dirty="0" smtClean="0">
                <a:latin typeface="Arial" panose="020B0604020202020204" pitchFamily="34" charset="0"/>
                <a:ea typeface="微软雅黑" pitchFamily="34" charset="-122"/>
              </a:rPr>
              <a:t> </a:t>
            </a:r>
            <a:r>
              <a:rPr lang="en-US" altLang="zh-CN" sz="850" dirty="0" smtClean="0">
                <a:latin typeface="Arial" panose="020B0604020202020204" pitchFamily="34" charset="0"/>
                <a:ea typeface="微软雅黑" pitchFamily="34" charset="-122"/>
              </a:rPr>
              <a:t>area</a:t>
            </a:r>
            <a:r>
              <a:rPr lang="en-US" altLang="zh-CN" sz="850" b="1" dirty="0" smtClean="0">
                <a:latin typeface="Arial" panose="020B0604020202020204" pitchFamily="34" charset="0"/>
                <a:ea typeface="微软雅黑" pitchFamily="34" charset="-122"/>
              </a:rPr>
              <a:t> </a:t>
            </a:r>
            <a:r>
              <a:rPr lang="en-US" altLang="zh-CN" sz="850" dirty="0" smtClean="0">
                <a:latin typeface="Arial" panose="020B0604020202020204" pitchFamily="34" charset="0"/>
                <a:ea typeface="微软雅黑" pitchFamily="34" charset="-122"/>
              </a:rPr>
              <a:t>is covered. The number of network nodes to be deployed decreases by </a:t>
            </a:r>
            <a:r>
              <a:rPr lang="en-US" altLang="zh-CN" sz="850" b="1" dirty="0" smtClean="0">
                <a:solidFill>
                  <a:srgbClr val="FF0000"/>
                </a:solidFill>
                <a:latin typeface="Arial" panose="020B0604020202020204" pitchFamily="34" charset="0"/>
                <a:ea typeface="微软雅黑" pitchFamily="34" charset="-122"/>
              </a:rPr>
              <a:t>90%</a:t>
            </a:r>
            <a:r>
              <a:rPr lang="en-US" altLang="zh-CN" sz="850" dirty="0" smtClean="0">
                <a:latin typeface="Arial" panose="020B0604020202020204" pitchFamily="34" charset="0"/>
                <a:ea typeface="微软雅黑" pitchFamily="34" charset="-122"/>
              </a:rPr>
              <a:t>.</a:t>
            </a:r>
            <a:endParaRPr lang="en-US" altLang="zh-CN" sz="850" b="1" dirty="0" smtClean="0">
              <a:solidFill>
                <a:srgbClr val="FF0000"/>
              </a:solidFill>
              <a:latin typeface="Arial" panose="020B0604020202020204" pitchFamily="34" charset="0"/>
              <a:ea typeface="微软雅黑" pitchFamily="34" charset="-122"/>
            </a:endParaRP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The flattened network is easy to operate and maintain. The number of mesh network nodes and maintenance workload decrease. The TCO decreases by </a:t>
            </a:r>
            <a:r>
              <a:rPr lang="en-US" altLang="zh-CN" sz="850" b="1" dirty="0" smtClean="0">
                <a:solidFill>
                  <a:srgbClr val="FF0000"/>
                </a:solidFill>
                <a:latin typeface="Arial" panose="020B0604020202020204" pitchFamily="34" charset="0"/>
                <a:ea typeface="微软雅黑" pitchFamily="34" charset="-122"/>
              </a:rPr>
              <a:t>20%</a:t>
            </a:r>
            <a:r>
              <a:rPr lang="en-US" altLang="zh-CN" sz="850" dirty="0" smtClean="0">
                <a:latin typeface="Arial" panose="020B0604020202020204" pitchFamily="34" charset="0"/>
                <a:ea typeface="微软雅黑" pitchFamily="34" charset="-122"/>
              </a:rPr>
              <a:t> in total.</a:t>
            </a:r>
            <a:endParaRPr lang="en-US" altLang="zh-CN" sz="850" b="1" dirty="0" smtClean="0">
              <a:solidFill>
                <a:srgbClr val="FF0000"/>
              </a:solidFill>
              <a:latin typeface="Arial" panose="020B0604020202020204" pitchFamily="34" charset="0"/>
              <a:ea typeface="微软雅黑" pitchFamily="34" charset="-122"/>
            </a:endParaRPr>
          </a:p>
          <a:p>
            <a:pPr marL="90488"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The network is easy to deploy. The IoT module is open and easy to integrate, which allows it to be adapted to diverse terminals.</a:t>
            </a:r>
            <a:endParaRPr lang="en-US" altLang="zh-CN" sz="850" dirty="0" smtClean="0">
              <a:solidFill>
                <a:srgbClr val="FF0000"/>
              </a:solidFill>
              <a:latin typeface="Arial" panose="020B0604020202020204" pitchFamily="34" charset="0"/>
              <a:ea typeface="微软雅黑" pitchFamily="34" charset="-122"/>
            </a:endParaRPr>
          </a:p>
          <a:p>
            <a:pPr marL="90488" lvl="1" indent="-90488">
              <a:spcAft>
                <a:spcPts val="100"/>
              </a:spcAft>
              <a:buClr>
                <a:schemeClr val="tx1"/>
              </a:buClr>
              <a:buSzPct val="100000"/>
              <a:buFont typeface="Arial" panose="020B0604020202020204" pitchFamily="34" charset="0"/>
              <a:buChar char="•"/>
              <a:tabLst>
                <a:tab pos="239232" algn="l"/>
              </a:tabLst>
            </a:pPr>
            <a:r>
              <a:rPr lang="en-US" altLang="zh-CN" sz="850" dirty="0" smtClean="0">
                <a:latin typeface="Arial" panose="020B0604020202020204" pitchFamily="34" charset="0"/>
                <a:ea typeface="微软雅黑" pitchFamily="34" charset="-122"/>
              </a:rPr>
              <a:t>One network provides multiple services and new services can be flexibly expanded.</a:t>
            </a:r>
          </a:p>
          <a:p>
            <a:pPr>
              <a:spcAft>
                <a:spcPts val="100"/>
              </a:spcAft>
              <a:buClr>
                <a:schemeClr val="tx1"/>
              </a:buClr>
              <a:buSzPct val="100000"/>
              <a:tabLst>
                <a:tab pos="239232" algn="l"/>
              </a:tabLst>
            </a:pPr>
            <a:r>
              <a:rPr lang="en-US" altLang="zh-CN" sz="1000" b="1" dirty="0" smtClean="0">
                <a:solidFill>
                  <a:srgbClr val="C00000"/>
                </a:solidFill>
                <a:latin typeface="Arial" pitchFamily="34" charset="0"/>
                <a:cs typeface="Arial" pitchFamily="34" charset="0"/>
              </a:rPr>
              <a:t>Maturity: </a:t>
            </a:r>
            <a:r>
              <a:rPr lang="en-US" altLang="zh-CN" sz="850" dirty="0" smtClean="0">
                <a:latin typeface="Arial" pitchFamily="34" charset="0"/>
                <a:cs typeface="Arial" pitchFamily="34" charset="0"/>
              </a:rPr>
              <a:t>in pilot in </a:t>
            </a:r>
            <a:r>
              <a:rPr lang="en-US" altLang="zh-CN" sz="850" smtClean="0">
                <a:latin typeface="Arial" pitchFamily="34" charset="0"/>
                <a:cs typeface="Arial" pitchFamily="34" charset="0"/>
              </a:rPr>
              <a:t>China (Tongzhou </a:t>
            </a:r>
            <a:r>
              <a:rPr lang="en-US" altLang="zh-CN" sz="850" dirty="0" smtClean="0">
                <a:latin typeface="Arial" pitchFamily="34" charset="0"/>
                <a:cs typeface="Arial" pitchFamily="34" charset="0"/>
              </a:rPr>
              <a:t>in Beijing)</a:t>
            </a:r>
            <a:endParaRPr lang="en-US" altLang="zh-CN" sz="850" dirty="0">
              <a:latin typeface="Arial" panose="020B0604020202020204" pitchFamily="34" charset="0"/>
              <a:ea typeface="微软雅黑" pitchFamily="34" charset="-122"/>
            </a:endParaRPr>
          </a:p>
        </p:txBody>
      </p:sp>
      <p:sp>
        <p:nvSpPr>
          <p:cNvPr id="51" name="矩形 50"/>
          <p:cNvSpPr/>
          <p:nvPr/>
        </p:nvSpPr>
        <p:spPr bwMode="auto">
          <a:xfrm>
            <a:off x="61852" y="1039921"/>
            <a:ext cx="4204687" cy="3387739"/>
          </a:xfrm>
          <a:prstGeom prst="rect">
            <a:avLst/>
          </a:prstGeom>
          <a:noFill/>
          <a:ln w="9525" cap="flat" cmpd="sng" algn="ctr">
            <a:solidFill>
              <a:schemeClr val="tx2">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tabLst/>
            </a:pPr>
            <a:endParaRPr lang="zh-CN" altLang="en-US" dirty="0" smtClean="0">
              <a:latin typeface="Arial" panose="020B0604020202020204" pitchFamily="34" charset="0"/>
              <a:ea typeface="微软雅黑" panose="020B0503020204020204" pitchFamily="34" charset="-122"/>
              <a:cs typeface="Arial" panose="020B0604020202020204" pitchFamily="34" charset="0"/>
            </a:endParaRPr>
          </a:p>
        </p:txBody>
      </p:sp>
      <p:cxnSp>
        <p:nvCxnSpPr>
          <p:cNvPr id="62" name="直接连接符 61"/>
          <p:cNvCxnSpPr/>
          <p:nvPr/>
        </p:nvCxnSpPr>
        <p:spPr>
          <a:xfrm flipV="1">
            <a:off x="141811" y="3061478"/>
            <a:ext cx="3851791" cy="2"/>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直接连接符 62"/>
          <p:cNvCxnSpPr/>
          <p:nvPr/>
        </p:nvCxnSpPr>
        <p:spPr>
          <a:xfrm flipV="1">
            <a:off x="171960" y="2123726"/>
            <a:ext cx="3851791" cy="2"/>
          </a:xfrm>
          <a:prstGeom prst="line">
            <a:avLst/>
          </a:prstGeom>
        </p:spPr>
        <p:style>
          <a:lnRef idx="1">
            <a:schemeClr val="accent1"/>
          </a:lnRef>
          <a:fillRef idx="0">
            <a:schemeClr val="accent1"/>
          </a:fillRef>
          <a:effectRef idx="0">
            <a:schemeClr val="accent1"/>
          </a:effectRef>
          <a:fontRef idx="minor">
            <a:schemeClr val="tx1"/>
          </a:fontRef>
        </p:style>
      </p:cxnSp>
      <p:sp>
        <p:nvSpPr>
          <p:cNvPr id="64" name="Freeform 27"/>
          <p:cNvSpPr>
            <a:spLocks noEditPoints="1"/>
          </p:cNvSpPr>
          <p:nvPr/>
        </p:nvSpPr>
        <p:spPr bwMode="auto">
          <a:xfrm>
            <a:off x="888526" y="2417848"/>
            <a:ext cx="1875358" cy="571622"/>
          </a:xfrm>
          <a:custGeom>
            <a:avLst/>
            <a:gdLst>
              <a:gd name="T0" fmla="*/ 2147483647 w 16443"/>
              <a:gd name="T1" fmla="*/ 2147483647 h 11487"/>
              <a:gd name="T2" fmla="*/ 2147483647 w 16443"/>
              <a:gd name="T3" fmla="*/ 2147483647 h 11487"/>
              <a:gd name="T4" fmla="*/ 2147483647 w 16443"/>
              <a:gd name="T5" fmla="*/ 2147483647 h 11487"/>
              <a:gd name="T6" fmla="*/ 2147483647 w 16443"/>
              <a:gd name="T7" fmla="*/ 2147483647 h 11487"/>
              <a:gd name="T8" fmla="*/ 2147483647 w 16443"/>
              <a:gd name="T9" fmla="*/ 2147483647 h 11487"/>
              <a:gd name="T10" fmla="*/ 2147483647 w 16443"/>
              <a:gd name="T11" fmla="*/ 2147483647 h 11487"/>
              <a:gd name="T12" fmla="*/ 2147483647 w 16443"/>
              <a:gd name="T13" fmla="*/ 2147483647 h 11487"/>
              <a:gd name="T14" fmla="*/ 2147483647 w 16443"/>
              <a:gd name="T15" fmla="*/ 2147483647 h 11487"/>
              <a:gd name="T16" fmla="*/ 2147483647 w 16443"/>
              <a:gd name="T17" fmla="*/ 2147483647 h 11487"/>
              <a:gd name="T18" fmla="*/ 2147483647 w 16443"/>
              <a:gd name="T19" fmla="*/ 2147483647 h 11487"/>
              <a:gd name="T20" fmla="*/ 2147483647 w 16443"/>
              <a:gd name="T21" fmla="*/ 2147483647 h 11487"/>
              <a:gd name="T22" fmla="*/ 2147483647 w 16443"/>
              <a:gd name="T23" fmla="*/ 2147483647 h 11487"/>
              <a:gd name="T24" fmla="*/ 2147483647 w 16443"/>
              <a:gd name="T25" fmla="*/ 2147483647 h 11487"/>
              <a:gd name="T26" fmla="*/ 2147483647 w 16443"/>
              <a:gd name="T27" fmla="*/ 2147483647 h 11487"/>
              <a:gd name="T28" fmla="*/ 2147483647 w 16443"/>
              <a:gd name="T29" fmla="*/ 2147483647 h 11487"/>
              <a:gd name="T30" fmla="*/ 2147483647 w 16443"/>
              <a:gd name="T31" fmla="*/ 2147483647 h 11487"/>
              <a:gd name="T32" fmla="*/ 2147483647 w 16443"/>
              <a:gd name="T33" fmla="*/ 2147483647 h 11487"/>
              <a:gd name="T34" fmla="*/ 2147483647 w 16443"/>
              <a:gd name="T35" fmla="*/ 2147483647 h 11487"/>
              <a:gd name="T36" fmla="*/ 2147483647 w 16443"/>
              <a:gd name="T37" fmla="*/ 2147483647 h 11487"/>
              <a:gd name="T38" fmla="*/ 2147483647 w 16443"/>
              <a:gd name="T39" fmla="*/ 2147483647 h 11487"/>
              <a:gd name="T40" fmla="*/ 2147483647 w 16443"/>
              <a:gd name="T41" fmla="*/ 2147483647 h 11487"/>
              <a:gd name="T42" fmla="*/ 2147483647 w 16443"/>
              <a:gd name="T43" fmla="*/ 2147483647 h 11487"/>
              <a:gd name="T44" fmla="*/ 2147483647 w 16443"/>
              <a:gd name="T45" fmla="*/ 2147483647 h 11487"/>
              <a:gd name="T46" fmla="*/ 2147483647 w 16443"/>
              <a:gd name="T47" fmla="*/ 2147483647 h 11487"/>
              <a:gd name="T48" fmla="*/ 2147483647 w 16443"/>
              <a:gd name="T49" fmla="*/ 2147483647 h 11487"/>
              <a:gd name="T50" fmla="*/ 2147483647 w 16443"/>
              <a:gd name="T51" fmla="*/ 2147483647 h 11487"/>
              <a:gd name="T52" fmla="*/ 2147483647 w 16443"/>
              <a:gd name="T53" fmla="*/ 2147483647 h 11487"/>
              <a:gd name="T54" fmla="*/ 2147483647 w 16443"/>
              <a:gd name="T55" fmla="*/ 2147483647 h 11487"/>
              <a:gd name="T56" fmla="*/ 2147483647 w 16443"/>
              <a:gd name="T57" fmla="*/ 2147483647 h 11487"/>
              <a:gd name="T58" fmla="*/ 2147483647 w 16443"/>
              <a:gd name="T59" fmla="*/ 2147483647 h 11487"/>
              <a:gd name="T60" fmla="*/ 2147483647 w 16443"/>
              <a:gd name="T61" fmla="*/ 2147483647 h 11487"/>
              <a:gd name="T62" fmla="*/ 2147483647 w 16443"/>
              <a:gd name="T63" fmla="*/ 2147483647 h 11487"/>
              <a:gd name="T64" fmla="*/ 2147483647 w 16443"/>
              <a:gd name="T65" fmla="*/ 2147483647 h 11487"/>
              <a:gd name="T66" fmla="*/ 2147483647 w 16443"/>
              <a:gd name="T67" fmla="*/ 2147483647 h 11487"/>
              <a:gd name="T68" fmla="*/ 2147483647 w 16443"/>
              <a:gd name="T69" fmla="*/ 2147483647 h 11487"/>
              <a:gd name="T70" fmla="*/ 2147483647 w 16443"/>
              <a:gd name="T71" fmla="*/ 2147483647 h 11487"/>
              <a:gd name="T72" fmla="*/ 2147483647 w 16443"/>
              <a:gd name="T73" fmla="*/ 2147483647 h 11487"/>
              <a:gd name="T74" fmla="*/ 2147483647 w 16443"/>
              <a:gd name="T75" fmla="*/ 2147483647 h 11487"/>
              <a:gd name="T76" fmla="*/ 2147483647 w 16443"/>
              <a:gd name="T77" fmla="*/ 2147483647 h 11487"/>
              <a:gd name="T78" fmla="*/ 2147483647 w 16443"/>
              <a:gd name="T79" fmla="*/ 2147483647 h 11487"/>
              <a:gd name="T80" fmla="*/ 2147483647 w 16443"/>
              <a:gd name="T81" fmla="*/ 2147483647 h 11487"/>
              <a:gd name="T82" fmla="*/ 2147483647 w 16443"/>
              <a:gd name="T83" fmla="*/ 2147483647 h 11487"/>
              <a:gd name="T84" fmla="*/ 2147483647 w 16443"/>
              <a:gd name="T85" fmla="*/ 2147483647 h 11487"/>
              <a:gd name="T86" fmla="*/ 2147483647 w 16443"/>
              <a:gd name="T87" fmla="*/ 2147483647 h 11487"/>
              <a:gd name="T88" fmla="*/ 2147483647 w 16443"/>
              <a:gd name="T89" fmla="*/ 2147483647 h 11487"/>
              <a:gd name="T90" fmla="*/ 2147483647 w 16443"/>
              <a:gd name="T91" fmla="*/ 2147483647 h 11487"/>
              <a:gd name="T92" fmla="*/ 2147483647 w 16443"/>
              <a:gd name="T93" fmla="*/ 2147483647 h 11487"/>
              <a:gd name="T94" fmla="*/ 2147483647 w 16443"/>
              <a:gd name="T95" fmla="*/ 2147483647 h 11487"/>
              <a:gd name="T96" fmla="*/ 2147483647 w 16443"/>
              <a:gd name="T97" fmla="*/ 2147483647 h 11487"/>
              <a:gd name="T98" fmla="*/ 2147483647 w 16443"/>
              <a:gd name="T99" fmla="*/ 2147483647 h 11487"/>
              <a:gd name="T100" fmla="*/ 2147483647 w 16443"/>
              <a:gd name="T101" fmla="*/ 2147483647 h 11487"/>
              <a:gd name="T102" fmla="*/ 2147483647 w 16443"/>
              <a:gd name="T103" fmla="*/ 2147483647 h 11487"/>
              <a:gd name="T104" fmla="*/ 2147483647 w 16443"/>
              <a:gd name="T105" fmla="*/ 2147483647 h 11487"/>
              <a:gd name="T106" fmla="*/ 2147483647 w 16443"/>
              <a:gd name="T107" fmla="*/ 2147483647 h 11487"/>
              <a:gd name="T108" fmla="*/ 2147483647 w 16443"/>
              <a:gd name="T109" fmla="*/ 2147483647 h 11487"/>
              <a:gd name="T110" fmla="*/ 2147483647 w 16443"/>
              <a:gd name="T111" fmla="*/ 2147483647 h 11487"/>
              <a:gd name="T112" fmla="*/ 2147483647 w 16443"/>
              <a:gd name="T113" fmla="*/ 2147483647 h 1148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443"/>
              <a:gd name="T172" fmla="*/ 0 h 11487"/>
              <a:gd name="T173" fmla="*/ 16443 w 16443"/>
              <a:gd name="T174" fmla="*/ 11487 h 1148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66FFFF"/>
          </a:solidFill>
          <a:ln>
            <a:noFill/>
          </a:ln>
        </p:spPr>
        <p:txBody>
          <a:bodyPr wrap="none" anchor="ctr"/>
          <a:lstStyle/>
          <a:p>
            <a:pPr eaLnBrk="1" hangingPunct="1">
              <a:defRPr/>
            </a:pPr>
            <a:endParaRPr lang="zh-CN" altLang="en-US" dirty="0">
              <a:solidFill>
                <a:srgbClr val="000000"/>
              </a:solidFill>
              <a:latin typeface="Arial" panose="020B0604020202020204" pitchFamily="34" charset="0"/>
            </a:endParaRPr>
          </a:p>
        </p:txBody>
      </p:sp>
      <p:sp>
        <p:nvSpPr>
          <p:cNvPr id="65" name="TextBox 53"/>
          <p:cNvSpPr txBox="1">
            <a:spLocks noChangeArrowheads="1"/>
          </p:cNvSpPr>
          <p:nvPr/>
        </p:nvSpPr>
        <p:spPr bwMode="auto">
          <a:xfrm>
            <a:off x="1141243" y="2598518"/>
            <a:ext cx="1316177" cy="438582"/>
          </a:xfrm>
          <a:prstGeom prst="rect">
            <a:avLst/>
          </a:prstGeom>
          <a:noFill/>
          <a:ln w="9525">
            <a:noFill/>
            <a:miter lim="800000"/>
            <a:headEnd/>
            <a:tailEnd/>
          </a:ln>
        </p:spPr>
        <p:txBody>
          <a:bodyPr wrap="square">
            <a:spAutoFit/>
          </a:bodyPr>
          <a:lstStyle/>
          <a:p>
            <a:pPr algn="ctr"/>
            <a:r>
              <a:rPr lang="en-US" altLang="zh-CN" sz="1200" b="1" dirty="0" smtClean="0">
                <a:latin typeface="Arial" panose="020B0604020202020204" pitchFamily="34" charset="0"/>
                <a:ea typeface="微软雅黑" panose="020B0503020204020204" pitchFamily="34" charset="-122"/>
              </a:rPr>
              <a:t>eLTE-IoT</a:t>
            </a:r>
          </a:p>
          <a:p>
            <a:pPr algn="ctr"/>
            <a:r>
              <a:rPr lang="en-US" altLang="zh-CN" sz="1000" dirty="0" smtClean="0">
                <a:latin typeface="Arial" panose="020B0604020202020204" pitchFamily="34" charset="0"/>
                <a:ea typeface="微软雅黑" panose="020B0503020204020204" pitchFamily="34" charset="-122"/>
              </a:rPr>
              <a:t>ISM band</a:t>
            </a:r>
          </a:p>
        </p:txBody>
      </p:sp>
      <p:pic>
        <p:nvPicPr>
          <p:cNvPr id="66" name="Picture 2"/>
          <p:cNvPicPr>
            <a:picLocks noChangeAspect="1" noChangeArrowheads="1"/>
          </p:cNvPicPr>
          <p:nvPr/>
        </p:nvPicPr>
        <p:blipFill>
          <a:blip r:embed="rId5" cstate="email">
            <a:clrChange>
              <a:clrFrom>
                <a:srgbClr val="FFFFFF"/>
              </a:clrFrom>
              <a:clrTo>
                <a:srgbClr val="FFFFFF">
                  <a:alpha val="0"/>
                </a:srgbClr>
              </a:clrTo>
            </a:clrChange>
          </a:blip>
          <a:srcRect/>
          <a:stretch>
            <a:fillRect/>
          </a:stretch>
        </p:blipFill>
        <p:spPr bwMode="auto">
          <a:xfrm>
            <a:off x="1619742" y="2189608"/>
            <a:ext cx="351001" cy="471719"/>
          </a:xfrm>
          <a:prstGeom prst="rect">
            <a:avLst/>
          </a:prstGeom>
          <a:noFill/>
          <a:ln w="9525">
            <a:noFill/>
            <a:miter lim="800000"/>
            <a:headEnd/>
            <a:tailEnd/>
          </a:ln>
          <a:effectLst/>
        </p:spPr>
      </p:pic>
      <p:pic>
        <p:nvPicPr>
          <p:cNvPr id="77" name="图片 76"/>
          <p:cNvPicPr>
            <a:picLocks noChangeAspect="1"/>
          </p:cNvPicPr>
          <p:nvPr/>
        </p:nvPicPr>
        <p:blipFill rotWithShape="1">
          <a:blip r:embed="rId6" cstate="print">
            <a:extLst>
              <a:ext uri="{BEBA8EAE-BF5A-486C-A8C5-ECC9F3942E4B}">
                <a14:imgProps xmlns:a14="http://schemas.microsoft.com/office/drawing/2010/main" xmlns="">
                  <a14:imgLayer r:embed="rId7">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a14="http://schemas.microsoft.com/office/drawing/2010/main" xmlns="" val="0"/>
              </a:ext>
            </a:extLst>
          </a:blip>
          <a:srcRect/>
          <a:stretch/>
        </p:blipFill>
        <p:spPr>
          <a:xfrm rot="13765517">
            <a:off x="2547070" y="3085165"/>
            <a:ext cx="254741" cy="287640"/>
          </a:xfrm>
          <a:prstGeom prst="rect">
            <a:avLst/>
          </a:prstGeom>
        </p:spPr>
      </p:pic>
      <p:sp>
        <p:nvSpPr>
          <p:cNvPr id="78" name="561715770"/>
          <p:cNvSpPr/>
          <p:nvPr/>
        </p:nvSpPr>
        <p:spPr>
          <a:xfrm>
            <a:off x="103994" y="4027174"/>
            <a:ext cx="1080000" cy="40011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1000" dirty="0" smtClean="0">
                <a:solidFill>
                  <a:prstClr val="black"/>
                </a:solidFill>
                <a:latin typeface="Arial" panose="020B0604020202020204" pitchFamily="34" charset="0"/>
                <a:ea typeface="微软雅黑"/>
                <a:cs typeface="微软雅黑"/>
              </a:rPr>
              <a:t>Meteorological data collection</a:t>
            </a:r>
            <a:endParaRPr kumimoji="1" lang="zh-CN" altLang="en-US" sz="1000" dirty="0">
              <a:solidFill>
                <a:prstClr val="black"/>
              </a:solidFill>
              <a:latin typeface="Arial" panose="020B0604020202020204" pitchFamily="34" charset="0"/>
              <a:ea typeface="微软雅黑"/>
              <a:cs typeface="微软雅黑"/>
            </a:endParaRPr>
          </a:p>
        </p:txBody>
      </p:sp>
      <p:sp>
        <p:nvSpPr>
          <p:cNvPr id="79" name="191016118"/>
          <p:cNvSpPr/>
          <p:nvPr/>
        </p:nvSpPr>
        <p:spPr>
          <a:xfrm>
            <a:off x="1065389" y="4027174"/>
            <a:ext cx="1296950" cy="246221"/>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1000" dirty="0" smtClean="0">
                <a:solidFill>
                  <a:prstClr val="black"/>
                </a:solidFill>
                <a:latin typeface="Arial" panose="020B0604020202020204" pitchFamily="34" charset="0"/>
                <a:ea typeface="微软雅黑"/>
                <a:cs typeface="微软雅黑"/>
              </a:rPr>
              <a:t>Noise monitoring</a:t>
            </a:r>
            <a:endParaRPr kumimoji="1" lang="zh-CN" altLang="en-US" sz="1000" dirty="0">
              <a:solidFill>
                <a:prstClr val="black"/>
              </a:solidFill>
              <a:latin typeface="Arial" panose="020B0604020202020204" pitchFamily="34" charset="0"/>
              <a:ea typeface="微软雅黑"/>
              <a:cs typeface="微软雅黑"/>
            </a:endParaRPr>
          </a:p>
        </p:txBody>
      </p:sp>
      <p:sp>
        <p:nvSpPr>
          <p:cNvPr id="80" name="1950587229"/>
          <p:cNvSpPr/>
          <p:nvPr/>
        </p:nvSpPr>
        <p:spPr>
          <a:xfrm>
            <a:off x="2161384" y="4027174"/>
            <a:ext cx="1296950" cy="40011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1000" dirty="0" smtClean="0">
                <a:solidFill>
                  <a:prstClr val="black"/>
                </a:solidFill>
                <a:latin typeface="Arial" panose="020B0604020202020204" pitchFamily="34" charset="0"/>
                <a:ea typeface="微软雅黑"/>
                <a:cs typeface="微软雅黑"/>
              </a:rPr>
              <a:t>Dust raising and pollution monitoring</a:t>
            </a:r>
            <a:endParaRPr kumimoji="1" lang="zh-CN" altLang="en-US" sz="1000" dirty="0">
              <a:solidFill>
                <a:prstClr val="black"/>
              </a:solidFill>
              <a:latin typeface="Arial" panose="020B0604020202020204" pitchFamily="34" charset="0"/>
              <a:ea typeface="微软雅黑"/>
              <a:cs typeface="微软雅黑"/>
            </a:endParaRPr>
          </a:p>
        </p:txBody>
      </p:sp>
      <p:pic>
        <p:nvPicPr>
          <p:cNvPr id="81" name="图片 80"/>
          <p:cNvPicPr>
            <a:picLocks noChangeAspect="1"/>
          </p:cNvPicPr>
          <p:nvPr/>
        </p:nvPicPr>
        <p:blipFill rotWithShape="1">
          <a:blip r:embed="rId6" cstate="print">
            <a:extLst>
              <a:ext uri="{BEBA8EAE-BF5A-486C-A8C5-ECC9F3942E4B}">
                <a14:imgProps xmlns:a14="http://schemas.microsoft.com/office/drawing/2010/main" xmlns="">
                  <a14:imgLayer r:embed="rId7">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a14="http://schemas.microsoft.com/office/drawing/2010/main" xmlns="" val="0"/>
              </a:ext>
            </a:extLst>
          </a:blip>
          <a:srcRect/>
          <a:stretch/>
        </p:blipFill>
        <p:spPr>
          <a:xfrm rot="16200000">
            <a:off x="1663925" y="3057026"/>
            <a:ext cx="254741" cy="287640"/>
          </a:xfrm>
          <a:prstGeom prst="rect">
            <a:avLst/>
          </a:prstGeom>
        </p:spPr>
      </p:pic>
      <p:pic>
        <p:nvPicPr>
          <p:cNvPr id="82" name="图片 81"/>
          <p:cNvPicPr>
            <a:picLocks noChangeAspect="1"/>
          </p:cNvPicPr>
          <p:nvPr/>
        </p:nvPicPr>
        <p:blipFill rotWithShape="1">
          <a:blip r:embed="rId6" cstate="print">
            <a:extLst>
              <a:ext uri="{BEBA8EAE-BF5A-486C-A8C5-ECC9F3942E4B}">
                <a14:imgProps xmlns:a14="http://schemas.microsoft.com/office/drawing/2010/main" xmlns="">
                  <a14:imgLayer r:embed="rId7">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a14="http://schemas.microsoft.com/office/drawing/2010/main" xmlns="" val="0"/>
              </a:ext>
            </a:extLst>
          </a:blip>
          <a:srcRect/>
          <a:stretch/>
        </p:blipFill>
        <p:spPr>
          <a:xfrm rot="18765754">
            <a:off x="840281" y="3066055"/>
            <a:ext cx="254741" cy="287640"/>
          </a:xfrm>
          <a:prstGeom prst="rect">
            <a:avLst/>
          </a:prstGeom>
        </p:spPr>
      </p:pic>
      <p:sp>
        <p:nvSpPr>
          <p:cNvPr id="83" name="1429967187"/>
          <p:cNvSpPr/>
          <p:nvPr/>
        </p:nvSpPr>
        <p:spPr>
          <a:xfrm>
            <a:off x="3380136" y="3565846"/>
            <a:ext cx="813074" cy="320692"/>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en-US" altLang="zh-CN" sz="900" b="1" dirty="0" smtClean="0">
                <a:solidFill>
                  <a:prstClr val="white"/>
                </a:solidFill>
                <a:latin typeface="Arial" panose="020B0604020202020204" pitchFamily="34" charset="0"/>
                <a:ea typeface="微软雅黑" pitchFamily="34" charset="-122"/>
              </a:rPr>
              <a:t>LHZW</a:t>
            </a:r>
            <a:endParaRPr lang="en-US" altLang="zh-CN" sz="900" b="1" dirty="0">
              <a:solidFill>
                <a:prstClr val="white"/>
              </a:solidFill>
              <a:latin typeface="Arial" panose="020B0604020202020204" pitchFamily="34" charset="0"/>
              <a:ea typeface="微软雅黑" pitchFamily="34" charset="-122"/>
            </a:endParaRPr>
          </a:p>
        </p:txBody>
      </p:sp>
      <p:sp>
        <p:nvSpPr>
          <p:cNvPr id="85" name="82630679"/>
          <p:cNvSpPr/>
          <p:nvPr/>
        </p:nvSpPr>
        <p:spPr>
          <a:xfrm>
            <a:off x="3381840" y="1316680"/>
            <a:ext cx="813074" cy="320692"/>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en-US" altLang="zh-CN" sz="900" b="1" dirty="0" smtClean="0">
                <a:solidFill>
                  <a:prstClr val="white"/>
                </a:solidFill>
                <a:latin typeface="Arial" panose="020B0604020202020204" pitchFamily="34" charset="0"/>
                <a:ea typeface="微软雅黑" pitchFamily="34" charset="-122"/>
              </a:rPr>
              <a:t>LHZW</a:t>
            </a:r>
            <a:endParaRPr lang="en-US" altLang="zh-CN" sz="900" b="1" dirty="0">
              <a:solidFill>
                <a:prstClr val="white"/>
              </a:solidFill>
              <a:latin typeface="Arial" panose="020B0604020202020204" pitchFamily="34" charset="0"/>
              <a:ea typeface="微软雅黑" pitchFamily="34" charset="-122"/>
            </a:endParaRPr>
          </a:p>
        </p:txBody>
      </p:sp>
      <p:sp>
        <p:nvSpPr>
          <p:cNvPr id="89" name="下箭头 88"/>
          <p:cNvSpPr/>
          <p:nvPr/>
        </p:nvSpPr>
        <p:spPr>
          <a:xfrm rot="10800000">
            <a:off x="1716410" y="1995777"/>
            <a:ext cx="140598" cy="202241"/>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Arial" panose="020B0604020202020204" pitchFamily="34" charset="0"/>
            </a:endParaRPr>
          </a:p>
        </p:txBody>
      </p:sp>
      <p:pic>
        <p:nvPicPr>
          <p:cNvPr id="92" name="Picture 2" descr="http://img1.imgtn.bdimg.com/it/u=282636895,3787487730&amp;fm=21&amp;gp=0.jpg"/>
          <p:cNvPicPr>
            <a:picLocks noChangeAspect="1" noChangeArrowheads="1"/>
          </p:cNvPicPr>
          <p:nvPr/>
        </p:nvPicPr>
        <p:blipFill>
          <a:blip r:embed="rId8" cstate="print"/>
          <a:srcRect/>
          <a:stretch>
            <a:fillRect/>
          </a:stretch>
        </p:blipFill>
        <p:spPr bwMode="auto">
          <a:xfrm>
            <a:off x="160495" y="3409206"/>
            <a:ext cx="958461" cy="572602"/>
          </a:xfrm>
          <a:prstGeom prst="rect">
            <a:avLst/>
          </a:prstGeom>
          <a:ln w="38100" cap="sq">
            <a:noFill/>
            <a:prstDash val="solid"/>
            <a:miter lim="800000"/>
          </a:ln>
          <a:effectLst>
            <a:outerShdw blurRad="50800" dist="38100" dir="2700000" algn="tl" rotWithShape="0">
              <a:srgbClr val="000000">
                <a:alpha val="43000"/>
              </a:srgbClr>
            </a:outerShdw>
          </a:effectLst>
        </p:spPr>
      </p:pic>
      <p:pic>
        <p:nvPicPr>
          <p:cNvPr id="93" name="Picture 7"/>
          <p:cNvPicPr>
            <a:picLocks noChangeAspect="1" noChangeArrowheads="1"/>
          </p:cNvPicPr>
          <p:nvPr/>
        </p:nvPicPr>
        <p:blipFill>
          <a:blip r:embed="rId9" cstate="print"/>
          <a:srcRect/>
          <a:stretch>
            <a:fillRect/>
          </a:stretch>
        </p:blipFill>
        <p:spPr bwMode="auto">
          <a:xfrm>
            <a:off x="1212560" y="3401036"/>
            <a:ext cx="979604" cy="614631"/>
          </a:xfrm>
          <a:prstGeom prst="rect">
            <a:avLst/>
          </a:prstGeom>
          <a:ln w="38100" cap="sq">
            <a:noFill/>
            <a:prstDash val="solid"/>
            <a:miter lim="800000"/>
          </a:ln>
          <a:effectLst>
            <a:outerShdw blurRad="50800" dist="38100" dir="2700000" algn="tl" rotWithShape="0">
              <a:srgbClr val="000000">
                <a:alpha val="43000"/>
              </a:srgbClr>
            </a:outerShdw>
          </a:effectLst>
        </p:spPr>
      </p:pic>
      <p:grpSp>
        <p:nvGrpSpPr>
          <p:cNvPr id="3" name="组合 2"/>
          <p:cNvGrpSpPr/>
          <p:nvPr/>
        </p:nvGrpSpPr>
        <p:grpSpPr>
          <a:xfrm>
            <a:off x="2298396" y="3396610"/>
            <a:ext cx="973888" cy="619057"/>
            <a:chOff x="-2982518" y="3593114"/>
            <a:chExt cx="2371733" cy="1574932"/>
          </a:xfrm>
        </p:grpSpPr>
        <p:pic>
          <p:nvPicPr>
            <p:cNvPr id="94" name="图片 93"/>
            <p:cNvPicPr>
              <a:picLocks noChangeAspect="1"/>
            </p:cNvPicPr>
            <p:nvPr/>
          </p:nvPicPr>
          <p:blipFill>
            <a:blip r:embed="rId10" cstate="print"/>
            <a:stretch>
              <a:fillRect/>
            </a:stretch>
          </p:blipFill>
          <p:spPr>
            <a:xfrm>
              <a:off x="-1768920" y="3593114"/>
              <a:ext cx="1158135" cy="1574390"/>
            </a:xfrm>
            <a:prstGeom prst="rect">
              <a:avLst/>
            </a:prstGeom>
            <a:ln w="38100" cap="sq">
              <a:noFill/>
              <a:prstDash val="solid"/>
              <a:miter lim="800000"/>
            </a:ln>
            <a:effectLst>
              <a:outerShdw blurRad="50800" dist="38100" dir="2700000" algn="tl" rotWithShape="0">
                <a:srgbClr val="000000">
                  <a:alpha val="43000"/>
                </a:srgbClr>
              </a:outerShdw>
            </a:effectLst>
          </p:spPr>
        </p:pic>
        <p:pic>
          <p:nvPicPr>
            <p:cNvPr id="95" name="Picture 2" descr="F:\2015年工作\工地物联网\宣传彩页\“腾讯工地彩页”文件夹\“腾讯工地彩页”文件夹\Links\IMG_20150605_183709.jpg"/>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2982518" y="3599713"/>
              <a:ext cx="1158135" cy="1568333"/>
            </a:xfrm>
            <a:prstGeom prst="rect">
              <a:avLst/>
            </a:prstGeom>
            <a:ln w="38100" cap="sq">
              <a:noFill/>
              <a:prstDash val="solid"/>
              <a:miter lim="800000"/>
            </a:ln>
            <a:effectLst>
              <a:outerShdw blurRad="50800" dist="38100" dir="2700000" algn="tl" rotWithShape="0">
                <a:srgbClr val="000000">
                  <a:alpha val="43000"/>
                </a:srgbClr>
              </a:outerShdw>
            </a:effectLst>
            <a:extLst/>
          </p:spPr>
        </p:pic>
      </p:grpSp>
      <p:grpSp>
        <p:nvGrpSpPr>
          <p:cNvPr id="97" name="组合 96"/>
          <p:cNvGrpSpPr/>
          <p:nvPr/>
        </p:nvGrpSpPr>
        <p:grpSpPr>
          <a:xfrm>
            <a:off x="877546" y="1169246"/>
            <a:ext cx="864260" cy="448532"/>
            <a:chOff x="5029884" y="1724179"/>
            <a:chExt cx="2276619" cy="807047"/>
          </a:xfrm>
          <a:solidFill>
            <a:schemeClr val="accent5">
              <a:lumMod val="40000"/>
              <a:lumOff val="60000"/>
            </a:schemeClr>
          </a:solidFill>
        </p:grpSpPr>
        <p:sp>
          <p:nvSpPr>
            <p:cNvPr id="99" name="Freeform 20"/>
            <p:cNvSpPr>
              <a:spLocks noEditPoints="1"/>
            </p:cNvSpPr>
            <p:nvPr/>
          </p:nvSpPr>
          <p:spPr bwMode="auto">
            <a:xfrm>
              <a:off x="5590477" y="1724179"/>
              <a:ext cx="1716026" cy="807047"/>
            </a:xfrm>
            <a:custGeom>
              <a:avLst/>
              <a:gdLst/>
              <a:ahLst/>
              <a:cxnLst>
                <a:cxn ang="0">
                  <a:pos x="302" y="2"/>
                </a:cxn>
                <a:cxn ang="0">
                  <a:pos x="376" y="32"/>
                </a:cxn>
                <a:cxn ang="0">
                  <a:pos x="428" y="88"/>
                </a:cxn>
                <a:cxn ang="0">
                  <a:pos x="448" y="112"/>
                </a:cxn>
                <a:cxn ang="0">
                  <a:pos x="476" y="114"/>
                </a:cxn>
                <a:cxn ang="0">
                  <a:pos x="514" y="128"/>
                </a:cxn>
                <a:cxn ang="0">
                  <a:pos x="546" y="152"/>
                </a:cxn>
                <a:cxn ang="0">
                  <a:pos x="570" y="186"/>
                </a:cxn>
                <a:cxn ang="0">
                  <a:pos x="584" y="224"/>
                </a:cxn>
                <a:cxn ang="0">
                  <a:pos x="586" y="252"/>
                </a:cxn>
                <a:cxn ang="0">
                  <a:pos x="580" y="294"/>
                </a:cxn>
                <a:cxn ang="0">
                  <a:pos x="562" y="330"/>
                </a:cxn>
                <a:cxn ang="0">
                  <a:pos x="536" y="360"/>
                </a:cxn>
                <a:cxn ang="0">
                  <a:pos x="502" y="380"/>
                </a:cxn>
                <a:cxn ang="0">
                  <a:pos x="462" y="390"/>
                </a:cxn>
                <a:cxn ang="0">
                  <a:pos x="442" y="158"/>
                </a:cxn>
                <a:cxn ang="0">
                  <a:pos x="116" y="392"/>
                </a:cxn>
                <a:cxn ang="0">
                  <a:pos x="92" y="388"/>
                </a:cxn>
                <a:cxn ang="0">
                  <a:pos x="34" y="358"/>
                </a:cxn>
                <a:cxn ang="0">
                  <a:pos x="2" y="298"/>
                </a:cxn>
                <a:cxn ang="0">
                  <a:pos x="0" y="274"/>
                </a:cxn>
                <a:cxn ang="0">
                  <a:pos x="16" y="216"/>
                </a:cxn>
                <a:cxn ang="0">
                  <a:pos x="58" y="174"/>
                </a:cxn>
                <a:cxn ang="0">
                  <a:pos x="98" y="160"/>
                </a:cxn>
                <a:cxn ang="0">
                  <a:pos x="110" y="112"/>
                </a:cxn>
                <a:cxn ang="0">
                  <a:pos x="134" y="70"/>
                </a:cxn>
                <a:cxn ang="0">
                  <a:pos x="168" y="36"/>
                </a:cxn>
                <a:cxn ang="0">
                  <a:pos x="210" y="14"/>
                </a:cxn>
                <a:cxn ang="0">
                  <a:pos x="258" y="2"/>
                </a:cxn>
                <a:cxn ang="0">
                  <a:pos x="180" y="262"/>
                </a:cxn>
                <a:cxn ang="0">
                  <a:pos x="180" y="284"/>
                </a:cxn>
                <a:cxn ang="0">
                  <a:pos x="180" y="226"/>
                </a:cxn>
                <a:cxn ang="0">
                  <a:pos x="180" y="248"/>
                </a:cxn>
                <a:cxn ang="0">
                  <a:pos x="180" y="190"/>
                </a:cxn>
                <a:cxn ang="0">
                  <a:pos x="180" y="210"/>
                </a:cxn>
                <a:cxn ang="0">
                  <a:pos x="160" y="172"/>
                </a:cxn>
                <a:cxn ang="0">
                  <a:pos x="160" y="424"/>
                </a:cxn>
                <a:cxn ang="0">
                  <a:pos x="448" y="488"/>
                </a:cxn>
                <a:cxn ang="0">
                  <a:pos x="448" y="470"/>
                </a:cxn>
                <a:cxn ang="0">
                  <a:pos x="194" y="488"/>
                </a:cxn>
                <a:cxn ang="0">
                  <a:pos x="194" y="470"/>
                </a:cxn>
                <a:cxn ang="0">
                  <a:pos x="336" y="488"/>
                </a:cxn>
                <a:cxn ang="0">
                  <a:pos x="336" y="470"/>
                </a:cxn>
                <a:cxn ang="0">
                  <a:pos x="374" y="462"/>
                </a:cxn>
                <a:cxn ang="0">
                  <a:pos x="342" y="498"/>
                </a:cxn>
                <a:cxn ang="0">
                  <a:pos x="354" y="434"/>
                </a:cxn>
                <a:cxn ang="0">
                  <a:pos x="374" y="462"/>
                </a:cxn>
                <a:cxn ang="0">
                  <a:pos x="244" y="498"/>
                </a:cxn>
                <a:cxn ang="0">
                  <a:pos x="214" y="462"/>
                </a:cxn>
                <a:cxn ang="0">
                  <a:pos x="232" y="462"/>
                </a:cxn>
                <a:cxn ang="0">
                  <a:pos x="408" y="262"/>
                </a:cxn>
                <a:cxn ang="0">
                  <a:pos x="320" y="262"/>
                </a:cxn>
                <a:cxn ang="0">
                  <a:pos x="408" y="226"/>
                </a:cxn>
                <a:cxn ang="0">
                  <a:pos x="320" y="226"/>
                </a:cxn>
                <a:cxn ang="0">
                  <a:pos x="408" y="190"/>
                </a:cxn>
                <a:cxn ang="0">
                  <a:pos x="320" y="190"/>
                </a:cxn>
                <a:cxn ang="0">
                  <a:pos x="426" y="172"/>
                </a:cxn>
                <a:cxn ang="0">
                  <a:pos x="302" y="172"/>
                </a:cxn>
              </a:cxnLst>
              <a:rect l="0" t="0" r="r" b="b"/>
              <a:pathLst>
                <a:path w="586" h="498">
                  <a:moveTo>
                    <a:pt x="274" y="0"/>
                  </a:moveTo>
                  <a:lnTo>
                    <a:pt x="274" y="0"/>
                  </a:lnTo>
                  <a:lnTo>
                    <a:pt x="302" y="2"/>
                  </a:lnTo>
                  <a:lnTo>
                    <a:pt x="328" y="10"/>
                  </a:lnTo>
                  <a:lnTo>
                    <a:pt x="354" y="18"/>
                  </a:lnTo>
                  <a:lnTo>
                    <a:pt x="376" y="32"/>
                  </a:lnTo>
                  <a:lnTo>
                    <a:pt x="396" y="48"/>
                  </a:lnTo>
                  <a:lnTo>
                    <a:pt x="414" y="68"/>
                  </a:lnTo>
                  <a:lnTo>
                    <a:pt x="428" y="88"/>
                  </a:lnTo>
                  <a:lnTo>
                    <a:pt x="440" y="112"/>
                  </a:lnTo>
                  <a:lnTo>
                    <a:pt x="440" y="112"/>
                  </a:lnTo>
                  <a:lnTo>
                    <a:pt x="448" y="112"/>
                  </a:lnTo>
                  <a:lnTo>
                    <a:pt x="448" y="112"/>
                  </a:lnTo>
                  <a:lnTo>
                    <a:pt x="462" y="112"/>
                  </a:lnTo>
                  <a:lnTo>
                    <a:pt x="476" y="114"/>
                  </a:lnTo>
                  <a:lnTo>
                    <a:pt x="488" y="118"/>
                  </a:lnTo>
                  <a:lnTo>
                    <a:pt x="502" y="124"/>
                  </a:lnTo>
                  <a:lnTo>
                    <a:pt x="514" y="128"/>
                  </a:lnTo>
                  <a:lnTo>
                    <a:pt x="526" y="136"/>
                  </a:lnTo>
                  <a:lnTo>
                    <a:pt x="536" y="144"/>
                  </a:lnTo>
                  <a:lnTo>
                    <a:pt x="546" y="152"/>
                  </a:lnTo>
                  <a:lnTo>
                    <a:pt x="554" y="162"/>
                  </a:lnTo>
                  <a:lnTo>
                    <a:pt x="562" y="174"/>
                  </a:lnTo>
                  <a:lnTo>
                    <a:pt x="570" y="186"/>
                  </a:lnTo>
                  <a:lnTo>
                    <a:pt x="576" y="198"/>
                  </a:lnTo>
                  <a:lnTo>
                    <a:pt x="580" y="210"/>
                  </a:lnTo>
                  <a:lnTo>
                    <a:pt x="584" y="224"/>
                  </a:lnTo>
                  <a:lnTo>
                    <a:pt x="586" y="238"/>
                  </a:lnTo>
                  <a:lnTo>
                    <a:pt x="586" y="252"/>
                  </a:lnTo>
                  <a:lnTo>
                    <a:pt x="586" y="252"/>
                  </a:lnTo>
                  <a:lnTo>
                    <a:pt x="586" y="266"/>
                  </a:lnTo>
                  <a:lnTo>
                    <a:pt x="584" y="280"/>
                  </a:lnTo>
                  <a:lnTo>
                    <a:pt x="580" y="294"/>
                  </a:lnTo>
                  <a:lnTo>
                    <a:pt x="576" y="306"/>
                  </a:lnTo>
                  <a:lnTo>
                    <a:pt x="570" y="318"/>
                  </a:lnTo>
                  <a:lnTo>
                    <a:pt x="562" y="330"/>
                  </a:lnTo>
                  <a:lnTo>
                    <a:pt x="554" y="340"/>
                  </a:lnTo>
                  <a:lnTo>
                    <a:pt x="546" y="350"/>
                  </a:lnTo>
                  <a:lnTo>
                    <a:pt x="536" y="360"/>
                  </a:lnTo>
                  <a:lnTo>
                    <a:pt x="526" y="368"/>
                  </a:lnTo>
                  <a:lnTo>
                    <a:pt x="514" y="374"/>
                  </a:lnTo>
                  <a:lnTo>
                    <a:pt x="502" y="380"/>
                  </a:lnTo>
                  <a:lnTo>
                    <a:pt x="488" y="384"/>
                  </a:lnTo>
                  <a:lnTo>
                    <a:pt x="476" y="388"/>
                  </a:lnTo>
                  <a:lnTo>
                    <a:pt x="462" y="390"/>
                  </a:lnTo>
                  <a:lnTo>
                    <a:pt x="448" y="392"/>
                  </a:lnTo>
                  <a:lnTo>
                    <a:pt x="442" y="392"/>
                  </a:lnTo>
                  <a:lnTo>
                    <a:pt x="442" y="158"/>
                  </a:lnTo>
                  <a:lnTo>
                    <a:pt x="146" y="158"/>
                  </a:lnTo>
                  <a:lnTo>
                    <a:pt x="146" y="392"/>
                  </a:lnTo>
                  <a:lnTo>
                    <a:pt x="116" y="392"/>
                  </a:lnTo>
                  <a:lnTo>
                    <a:pt x="116" y="392"/>
                  </a:lnTo>
                  <a:lnTo>
                    <a:pt x="104" y="390"/>
                  </a:lnTo>
                  <a:lnTo>
                    <a:pt x="92" y="388"/>
                  </a:lnTo>
                  <a:lnTo>
                    <a:pt x="70" y="382"/>
                  </a:lnTo>
                  <a:lnTo>
                    <a:pt x="52" y="372"/>
                  </a:lnTo>
                  <a:lnTo>
                    <a:pt x="34" y="358"/>
                  </a:lnTo>
                  <a:lnTo>
                    <a:pt x="20" y="340"/>
                  </a:lnTo>
                  <a:lnTo>
                    <a:pt x="10" y="320"/>
                  </a:lnTo>
                  <a:lnTo>
                    <a:pt x="2" y="298"/>
                  </a:lnTo>
                  <a:lnTo>
                    <a:pt x="0" y="286"/>
                  </a:lnTo>
                  <a:lnTo>
                    <a:pt x="0" y="274"/>
                  </a:lnTo>
                  <a:lnTo>
                    <a:pt x="0" y="274"/>
                  </a:lnTo>
                  <a:lnTo>
                    <a:pt x="2" y="254"/>
                  </a:lnTo>
                  <a:lnTo>
                    <a:pt x="8" y="234"/>
                  </a:lnTo>
                  <a:lnTo>
                    <a:pt x="16" y="216"/>
                  </a:lnTo>
                  <a:lnTo>
                    <a:pt x="28" y="200"/>
                  </a:lnTo>
                  <a:lnTo>
                    <a:pt x="42" y="186"/>
                  </a:lnTo>
                  <a:lnTo>
                    <a:pt x="58" y="174"/>
                  </a:lnTo>
                  <a:lnTo>
                    <a:pt x="78" y="166"/>
                  </a:lnTo>
                  <a:lnTo>
                    <a:pt x="98" y="160"/>
                  </a:lnTo>
                  <a:lnTo>
                    <a:pt x="98" y="160"/>
                  </a:lnTo>
                  <a:lnTo>
                    <a:pt x="100" y="144"/>
                  </a:lnTo>
                  <a:lnTo>
                    <a:pt x="104" y="128"/>
                  </a:lnTo>
                  <a:lnTo>
                    <a:pt x="110" y="112"/>
                  </a:lnTo>
                  <a:lnTo>
                    <a:pt x="116" y="98"/>
                  </a:lnTo>
                  <a:lnTo>
                    <a:pt x="124" y="84"/>
                  </a:lnTo>
                  <a:lnTo>
                    <a:pt x="134" y="70"/>
                  </a:lnTo>
                  <a:lnTo>
                    <a:pt x="144" y="58"/>
                  </a:lnTo>
                  <a:lnTo>
                    <a:pt x="154" y="46"/>
                  </a:lnTo>
                  <a:lnTo>
                    <a:pt x="168" y="36"/>
                  </a:lnTo>
                  <a:lnTo>
                    <a:pt x="180" y="28"/>
                  </a:lnTo>
                  <a:lnTo>
                    <a:pt x="194" y="20"/>
                  </a:lnTo>
                  <a:lnTo>
                    <a:pt x="210" y="14"/>
                  </a:lnTo>
                  <a:lnTo>
                    <a:pt x="224" y="8"/>
                  </a:lnTo>
                  <a:lnTo>
                    <a:pt x="242" y="4"/>
                  </a:lnTo>
                  <a:lnTo>
                    <a:pt x="258" y="2"/>
                  </a:lnTo>
                  <a:lnTo>
                    <a:pt x="274" y="0"/>
                  </a:lnTo>
                  <a:lnTo>
                    <a:pt x="274" y="0"/>
                  </a:lnTo>
                  <a:close/>
                  <a:moveTo>
                    <a:pt x="180" y="262"/>
                  </a:moveTo>
                  <a:lnTo>
                    <a:pt x="266" y="262"/>
                  </a:lnTo>
                  <a:lnTo>
                    <a:pt x="266" y="284"/>
                  </a:lnTo>
                  <a:lnTo>
                    <a:pt x="180" y="284"/>
                  </a:lnTo>
                  <a:lnTo>
                    <a:pt x="180" y="262"/>
                  </a:lnTo>
                  <a:lnTo>
                    <a:pt x="180" y="262"/>
                  </a:lnTo>
                  <a:close/>
                  <a:moveTo>
                    <a:pt x="180" y="226"/>
                  </a:moveTo>
                  <a:lnTo>
                    <a:pt x="266" y="226"/>
                  </a:lnTo>
                  <a:lnTo>
                    <a:pt x="266" y="248"/>
                  </a:lnTo>
                  <a:lnTo>
                    <a:pt x="180" y="248"/>
                  </a:lnTo>
                  <a:lnTo>
                    <a:pt x="180" y="226"/>
                  </a:lnTo>
                  <a:lnTo>
                    <a:pt x="180" y="226"/>
                  </a:lnTo>
                  <a:close/>
                  <a:moveTo>
                    <a:pt x="180" y="190"/>
                  </a:moveTo>
                  <a:lnTo>
                    <a:pt x="266" y="190"/>
                  </a:lnTo>
                  <a:lnTo>
                    <a:pt x="266" y="210"/>
                  </a:lnTo>
                  <a:lnTo>
                    <a:pt x="180" y="210"/>
                  </a:lnTo>
                  <a:lnTo>
                    <a:pt x="180" y="190"/>
                  </a:lnTo>
                  <a:lnTo>
                    <a:pt x="180" y="190"/>
                  </a:lnTo>
                  <a:close/>
                  <a:moveTo>
                    <a:pt x="160" y="172"/>
                  </a:moveTo>
                  <a:lnTo>
                    <a:pt x="284" y="172"/>
                  </a:lnTo>
                  <a:lnTo>
                    <a:pt x="284" y="424"/>
                  </a:lnTo>
                  <a:lnTo>
                    <a:pt x="160" y="424"/>
                  </a:lnTo>
                  <a:lnTo>
                    <a:pt x="160" y="172"/>
                  </a:lnTo>
                  <a:lnTo>
                    <a:pt x="160" y="172"/>
                  </a:lnTo>
                  <a:close/>
                  <a:moveTo>
                    <a:pt x="448" y="488"/>
                  </a:moveTo>
                  <a:lnTo>
                    <a:pt x="392" y="488"/>
                  </a:lnTo>
                  <a:lnTo>
                    <a:pt x="392" y="470"/>
                  </a:lnTo>
                  <a:lnTo>
                    <a:pt x="448" y="470"/>
                  </a:lnTo>
                  <a:lnTo>
                    <a:pt x="448" y="488"/>
                  </a:lnTo>
                  <a:lnTo>
                    <a:pt x="448" y="488"/>
                  </a:lnTo>
                  <a:close/>
                  <a:moveTo>
                    <a:pt x="194" y="488"/>
                  </a:moveTo>
                  <a:lnTo>
                    <a:pt x="138" y="488"/>
                  </a:lnTo>
                  <a:lnTo>
                    <a:pt x="138" y="470"/>
                  </a:lnTo>
                  <a:lnTo>
                    <a:pt x="194" y="470"/>
                  </a:lnTo>
                  <a:lnTo>
                    <a:pt x="194" y="488"/>
                  </a:lnTo>
                  <a:lnTo>
                    <a:pt x="194" y="488"/>
                  </a:lnTo>
                  <a:close/>
                  <a:moveTo>
                    <a:pt x="336" y="488"/>
                  </a:moveTo>
                  <a:lnTo>
                    <a:pt x="250" y="488"/>
                  </a:lnTo>
                  <a:lnTo>
                    <a:pt x="250" y="470"/>
                  </a:lnTo>
                  <a:lnTo>
                    <a:pt x="336" y="470"/>
                  </a:lnTo>
                  <a:lnTo>
                    <a:pt x="336" y="488"/>
                  </a:lnTo>
                  <a:lnTo>
                    <a:pt x="336" y="488"/>
                  </a:lnTo>
                  <a:close/>
                  <a:moveTo>
                    <a:pt x="374" y="462"/>
                  </a:moveTo>
                  <a:lnTo>
                    <a:pt x="386" y="462"/>
                  </a:lnTo>
                  <a:lnTo>
                    <a:pt x="386" y="498"/>
                  </a:lnTo>
                  <a:lnTo>
                    <a:pt x="342" y="498"/>
                  </a:lnTo>
                  <a:lnTo>
                    <a:pt x="342" y="462"/>
                  </a:lnTo>
                  <a:lnTo>
                    <a:pt x="354" y="462"/>
                  </a:lnTo>
                  <a:lnTo>
                    <a:pt x="354" y="434"/>
                  </a:lnTo>
                  <a:lnTo>
                    <a:pt x="374" y="434"/>
                  </a:lnTo>
                  <a:lnTo>
                    <a:pt x="374" y="462"/>
                  </a:lnTo>
                  <a:lnTo>
                    <a:pt x="374" y="462"/>
                  </a:lnTo>
                  <a:close/>
                  <a:moveTo>
                    <a:pt x="232" y="462"/>
                  </a:moveTo>
                  <a:lnTo>
                    <a:pt x="244" y="462"/>
                  </a:lnTo>
                  <a:lnTo>
                    <a:pt x="244" y="498"/>
                  </a:lnTo>
                  <a:lnTo>
                    <a:pt x="202" y="498"/>
                  </a:lnTo>
                  <a:lnTo>
                    <a:pt x="202" y="462"/>
                  </a:lnTo>
                  <a:lnTo>
                    <a:pt x="214" y="462"/>
                  </a:lnTo>
                  <a:lnTo>
                    <a:pt x="214" y="434"/>
                  </a:lnTo>
                  <a:lnTo>
                    <a:pt x="232" y="434"/>
                  </a:lnTo>
                  <a:lnTo>
                    <a:pt x="232" y="462"/>
                  </a:lnTo>
                  <a:lnTo>
                    <a:pt x="232" y="462"/>
                  </a:lnTo>
                  <a:close/>
                  <a:moveTo>
                    <a:pt x="320" y="262"/>
                  </a:moveTo>
                  <a:lnTo>
                    <a:pt x="408" y="262"/>
                  </a:lnTo>
                  <a:lnTo>
                    <a:pt x="408" y="284"/>
                  </a:lnTo>
                  <a:lnTo>
                    <a:pt x="320" y="284"/>
                  </a:lnTo>
                  <a:lnTo>
                    <a:pt x="320" y="262"/>
                  </a:lnTo>
                  <a:lnTo>
                    <a:pt x="320" y="262"/>
                  </a:lnTo>
                  <a:close/>
                  <a:moveTo>
                    <a:pt x="320" y="226"/>
                  </a:moveTo>
                  <a:lnTo>
                    <a:pt x="408" y="226"/>
                  </a:lnTo>
                  <a:lnTo>
                    <a:pt x="408" y="248"/>
                  </a:lnTo>
                  <a:lnTo>
                    <a:pt x="320" y="248"/>
                  </a:lnTo>
                  <a:lnTo>
                    <a:pt x="320" y="226"/>
                  </a:lnTo>
                  <a:lnTo>
                    <a:pt x="320" y="226"/>
                  </a:lnTo>
                  <a:close/>
                  <a:moveTo>
                    <a:pt x="320" y="190"/>
                  </a:moveTo>
                  <a:lnTo>
                    <a:pt x="408" y="190"/>
                  </a:lnTo>
                  <a:lnTo>
                    <a:pt x="408" y="210"/>
                  </a:lnTo>
                  <a:lnTo>
                    <a:pt x="320" y="210"/>
                  </a:lnTo>
                  <a:lnTo>
                    <a:pt x="320" y="190"/>
                  </a:lnTo>
                  <a:lnTo>
                    <a:pt x="320" y="190"/>
                  </a:lnTo>
                  <a:close/>
                  <a:moveTo>
                    <a:pt x="302" y="172"/>
                  </a:moveTo>
                  <a:lnTo>
                    <a:pt x="426" y="172"/>
                  </a:lnTo>
                  <a:lnTo>
                    <a:pt x="426" y="424"/>
                  </a:lnTo>
                  <a:lnTo>
                    <a:pt x="302" y="424"/>
                  </a:lnTo>
                  <a:lnTo>
                    <a:pt x="302" y="172"/>
                  </a:lnTo>
                  <a:lnTo>
                    <a:pt x="302" y="172"/>
                  </a:lnTo>
                  <a:close/>
                </a:path>
              </a:pathLst>
            </a:custGeom>
            <a:grpFill/>
            <a:ln w="9525">
              <a:solidFill>
                <a:schemeClr val="accent1">
                  <a:shade val="50000"/>
                </a:schemeClr>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sp>
          <p:nvSpPr>
            <p:cNvPr id="100" name="Freeform 32"/>
            <p:cNvSpPr>
              <a:spLocks noEditPoints="1"/>
            </p:cNvSpPr>
            <p:nvPr/>
          </p:nvSpPr>
          <p:spPr bwMode="auto">
            <a:xfrm>
              <a:off x="5029884" y="1724179"/>
              <a:ext cx="707663" cy="767443"/>
            </a:xfrm>
            <a:custGeom>
              <a:avLst/>
              <a:gdLst/>
              <a:ahLst/>
              <a:cxnLst>
                <a:cxn ang="0">
                  <a:pos x="618" y="166"/>
                </a:cxn>
                <a:cxn ang="0">
                  <a:pos x="688" y="108"/>
                </a:cxn>
                <a:cxn ang="0">
                  <a:pos x="660" y="54"/>
                </a:cxn>
                <a:cxn ang="0">
                  <a:pos x="464" y="0"/>
                </a:cxn>
                <a:cxn ang="0">
                  <a:pos x="254" y="32"/>
                </a:cxn>
                <a:cxn ang="0">
                  <a:pos x="184" y="90"/>
                </a:cxn>
                <a:cxn ang="0">
                  <a:pos x="212" y="144"/>
                </a:cxn>
                <a:cxn ang="0">
                  <a:pos x="408" y="198"/>
                </a:cxn>
                <a:cxn ang="0">
                  <a:pos x="266" y="334"/>
                </a:cxn>
                <a:cxn ang="0">
                  <a:pos x="474" y="358"/>
                </a:cxn>
                <a:cxn ang="0">
                  <a:pos x="674" y="304"/>
                </a:cxn>
                <a:cxn ang="0">
                  <a:pos x="688" y="188"/>
                </a:cxn>
                <a:cxn ang="0">
                  <a:pos x="630" y="204"/>
                </a:cxn>
                <a:cxn ang="0">
                  <a:pos x="436" y="240"/>
                </a:cxn>
                <a:cxn ang="0">
                  <a:pos x="218" y="194"/>
                </a:cxn>
                <a:cxn ang="0">
                  <a:pos x="184" y="272"/>
                </a:cxn>
                <a:cxn ang="0">
                  <a:pos x="238" y="238"/>
                </a:cxn>
                <a:cxn ang="0">
                  <a:pos x="252" y="274"/>
                </a:cxn>
                <a:cxn ang="0">
                  <a:pos x="224" y="274"/>
                </a:cxn>
                <a:cxn ang="0">
                  <a:pos x="238" y="238"/>
                </a:cxn>
                <a:cxn ang="0">
                  <a:pos x="326" y="510"/>
                </a:cxn>
                <a:cxn ang="0">
                  <a:pos x="546" y="510"/>
                </a:cxn>
                <a:cxn ang="0">
                  <a:pos x="680" y="458"/>
                </a:cxn>
                <a:cxn ang="0">
                  <a:pos x="684" y="350"/>
                </a:cxn>
                <a:cxn ang="0">
                  <a:pos x="568" y="386"/>
                </a:cxn>
                <a:cxn ang="0">
                  <a:pos x="366" y="396"/>
                </a:cxn>
                <a:cxn ang="0">
                  <a:pos x="200" y="350"/>
                </a:cxn>
                <a:cxn ang="0">
                  <a:pos x="184" y="442"/>
                </a:cxn>
                <a:cxn ang="0">
                  <a:pos x="244" y="398"/>
                </a:cxn>
                <a:cxn ang="0">
                  <a:pos x="244" y="446"/>
                </a:cxn>
                <a:cxn ang="0">
                  <a:pos x="222" y="422"/>
                </a:cxn>
                <a:cxn ang="0">
                  <a:pos x="534" y="848"/>
                </a:cxn>
                <a:cxn ang="0">
                  <a:pos x="524" y="882"/>
                </a:cxn>
                <a:cxn ang="0">
                  <a:pos x="534" y="916"/>
                </a:cxn>
                <a:cxn ang="0">
                  <a:pos x="872" y="902"/>
                </a:cxn>
                <a:cxn ang="0">
                  <a:pos x="872" y="864"/>
                </a:cxn>
                <a:cxn ang="0">
                  <a:pos x="34" y="848"/>
                </a:cxn>
                <a:cxn ang="0">
                  <a:pos x="2" y="868"/>
                </a:cxn>
                <a:cxn ang="0">
                  <a:pos x="10" y="906"/>
                </a:cxn>
                <a:cxn ang="0">
                  <a:pos x="348" y="914"/>
                </a:cxn>
                <a:cxn ang="0">
                  <a:pos x="354" y="868"/>
                </a:cxn>
                <a:cxn ang="0">
                  <a:pos x="460" y="818"/>
                </a:cxn>
                <a:cxn ang="0">
                  <a:pos x="612" y="654"/>
                </a:cxn>
                <a:cxn ang="0">
                  <a:pos x="688" y="602"/>
                </a:cxn>
                <a:cxn ang="0">
                  <a:pos x="672" y="510"/>
                </a:cxn>
                <a:cxn ang="0">
                  <a:pos x="506" y="556"/>
                </a:cxn>
                <a:cxn ang="0">
                  <a:pos x="304" y="546"/>
                </a:cxn>
                <a:cxn ang="0">
                  <a:pos x="188" y="510"/>
                </a:cxn>
                <a:cxn ang="0">
                  <a:pos x="192" y="618"/>
                </a:cxn>
                <a:cxn ang="0">
                  <a:pos x="316" y="668"/>
                </a:cxn>
                <a:cxn ang="0">
                  <a:pos x="398" y="828"/>
                </a:cxn>
                <a:cxn ang="0">
                  <a:pos x="370" y="882"/>
                </a:cxn>
                <a:cxn ang="0">
                  <a:pos x="424" y="948"/>
                </a:cxn>
                <a:cxn ang="0">
                  <a:pos x="494" y="920"/>
                </a:cxn>
                <a:cxn ang="0">
                  <a:pos x="498" y="852"/>
                </a:cxn>
                <a:cxn ang="0">
                  <a:pos x="238" y="606"/>
                </a:cxn>
                <a:cxn ang="0">
                  <a:pos x="224" y="570"/>
                </a:cxn>
                <a:cxn ang="0">
                  <a:pos x="252" y="570"/>
                </a:cxn>
                <a:cxn ang="0">
                  <a:pos x="238" y="606"/>
                </a:cxn>
              </a:cxnLst>
              <a:rect l="0" t="0" r="r" b="b"/>
              <a:pathLst>
                <a:path w="876" h="950">
                  <a:moveTo>
                    <a:pt x="436" y="198"/>
                  </a:moveTo>
                  <a:lnTo>
                    <a:pt x="436" y="198"/>
                  </a:lnTo>
                  <a:lnTo>
                    <a:pt x="464" y="198"/>
                  </a:lnTo>
                  <a:lnTo>
                    <a:pt x="490" y="196"/>
                  </a:lnTo>
                  <a:lnTo>
                    <a:pt x="538" y="190"/>
                  </a:lnTo>
                  <a:lnTo>
                    <a:pt x="582" y="180"/>
                  </a:lnTo>
                  <a:lnTo>
                    <a:pt x="618" y="166"/>
                  </a:lnTo>
                  <a:lnTo>
                    <a:pt x="634" y="160"/>
                  </a:lnTo>
                  <a:lnTo>
                    <a:pt x="648" y="152"/>
                  </a:lnTo>
                  <a:lnTo>
                    <a:pt x="660" y="144"/>
                  </a:lnTo>
                  <a:lnTo>
                    <a:pt x="670" y="134"/>
                  </a:lnTo>
                  <a:lnTo>
                    <a:pt x="678" y="126"/>
                  </a:lnTo>
                  <a:lnTo>
                    <a:pt x="684" y="116"/>
                  </a:lnTo>
                  <a:lnTo>
                    <a:pt x="688" y="108"/>
                  </a:lnTo>
                  <a:lnTo>
                    <a:pt x="688" y="98"/>
                  </a:lnTo>
                  <a:lnTo>
                    <a:pt x="688" y="98"/>
                  </a:lnTo>
                  <a:lnTo>
                    <a:pt x="688" y="90"/>
                  </a:lnTo>
                  <a:lnTo>
                    <a:pt x="684" y="82"/>
                  </a:lnTo>
                  <a:lnTo>
                    <a:pt x="678" y="72"/>
                  </a:lnTo>
                  <a:lnTo>
                    <a:pt x="670" y="64"/>
                  </a:lnTo>
                  <a:lnTo>
                    <a:pt x="660" y="54"/>
                  </a:lnTo>
                  <a:lnTo>
                    <a:pt x="648" y="46"/>
                  </a:lnTo>
                  <a:lnTo>
                    <a:pt x="634" y="38"/>
                  </a:lnTo>
                  <a:lnTo>
                    <a:pt x="618" y="32"/>
                  </a:lnTo>
                  <a:lnTo>
                    <a:pt x="582" y="18"/>
                  </a:lnTo>
                  <a:lnTo>
                    <a:pt x="538" y="8"/>
                  </a:lnTo>
                  <a:lnTo>
                    <a:pt x="490" y="2"/>
                  </a:lnTo>
                  <a:lnTo>
                    <a:pt x="464" y="0"/>
                  </a:lnTo>
                  <a:lnTo>
                    <a:pt x="436" y="0"/>
                  </a:lnTo>
                  <a:lnTo>
                    <a:pt x="436" y="0"/>
                  </a:lnTo>
                  <a:lnTo>
                    <a:pt x="408" y="0"/>
                  </a:lnTo>
                  <a:lnTo>
                    <a:pt x="382" y="2"/>
                  </a:lnTo>
                  <a:lnTo>
                    <a:pt x="334" y="8"/>
                  </a:lnTo>
                  <a:lnTo>
                    <a:pt x="290" y="18"/>
                  </a:lnTo>
                  <a:lnTo>
                    <a:pt x="254" y="32"/>
                  </a:lnTo>
                  <a:lnTo>
                    <a:pt x="238" y="38"/>
                  </a:lnTo>
                  <a:lnTo>
                    <a:pt x="224" y="46"/>
                  </a:lnTo>
                  <a:lnTo>
                    <a:pt x="212" y="54"/>
                  </a:lnTo>
                  <a:lnTo>
                    <a:pt x="202" y="64"/>
                  </a:lnTo>
                  <a:lnTo>
                    <a:pt x="194" y="72"/>
                  </a:lnTo>
                  <a:lnTo>
                    <a:pt x="188" y="82"/>
                  </a:lnTo>
                  <a:lnTo>
                    <a:pt x="184" y="90"/>
                  </a:lnTo>
                  <a:lnTo>
                    <a:pt x="184" y="98"/>
                  </a:lnTo>
                  <a:lnTo>
                    <a:pt x="184" y="98"/>
                  </a:lnTo>
                  <a:lnTo>
                    <a:pt x="184" y="108"/>
                  </a:lnTo>
                  <a:lnTo>
                    <a:pt x="188" y="116"/>
                  </a:lnTo>
                  <a:lnTo>
                    <a:pt x="194" y="126"/>
                  </a:lnTo>
                  <a:lnTo>
                    <a:pt x="202" y="134"/>
                  </a:lnTo>
                  <a:lnTo>
                    <a:pt x="212" y="144"/>
                  </a:lnTo>
                  <a:lnTo>
                    <a:pt x="224" y="152"/>
                  </a:lnTo>
                  <a:lnTo>
                    <a:pt x="238" y="160"/>
                  </a:lnTo>
                  <a:lnTo>
                    <a:pt x="254" y="166"/>
                  </a:lnTo>
                  <a:lnTo>
                    <a:pt x="290" y="180"/>
                  </a:lnTo>
                  <a:lnTo>
                    <a:pt x="334" y="190"/>
                  </a:lnTo>
                  <a:lnTo>
                    <a:pt x="382" y="196"/>
                  </a:lnTo>
                  <a:lnTo>
                    <a:pt x="408" y="198"/>
                  </a:lnTo>
                  <a:lnTo>
                    <a:pt x="436" y="198"/>
                  </a:lnTo>
                  <a:lnTo>
                    <a:pt x="436" y="198"/>
                  </a:lnTo>
                  <a:close/>
                  <a:moveTo>
                    <a:pt x="198" y="304"/>
                  </a:moveTo>
                  <a:lnTo>
                    <a:pt x="198" y="304"/>
                  </a:lnTo>
                  <a:lnTo>
                    <a:pt x="218" y="314"/>
                  </a:lnTo>
                  <a:lnTo>
                    <a:pt x="240" y="326"/>
                  </a:lnTo>
                  <a:lnTo>
                    <a:pt x="266" y="334"/>
                  </a:lnTo>
                  <a:lnTo>
                    <a:pt x="296" y="344"/>
                  </a:lnTo>
                  <a:lnTo>
                    <a:pt x="326" y="350"/>
                  </a:lnTo>
                  <a:lnTo>
                    <a:pt x="362" y="354"/>
                  </a:lnTo>
                  <a:lnTo>
                    <a:pt x="398" y="358"/>
                  </a:lnTo>
                  <a:lnTo>
                    <a:pt x="436" y="360"/>
                  </a:lnTo>
                  <a:lnTo>
                    <a:pt x="436" y="360"/>
                  </a:lnTo>
                  <a:lnTo>
                    <a:pt x="474" y="358"/>
                  </a:lnTo>
                  <a:lnTo>
                    <a:pt x="512" y="354"/>
                  </a:lnTo>
                  <a:lnTo>
                    <a:pt x="546" y="350"/>
                  </a:lnTo>
                  <a:lnTo>
                    <a:pt x="576" y="344"/>
                  </a:lnTo>
                  <a:lnTo>
                    <a:pt x="606" y="334"/>
                  </a:lnTo>
                  <a:lnTo>
                    <a:pt x="632" y="326"/>
                  </a:lnTo>
                  <a:lnTo>
                    <a:pt x="654" y="314"/>
                  </a:lnTo>
                  <a:lnTo>
                    <a:pt x="674" y="304"/>
                  </a:lnTo>
                  <a:lnTo>
                    <a:pt x="674" y="304"/>
                  </a:lnTo>
                  <a:lnTo>
                    <a:pt x="680" y="298"/>
                  </a:lnTo>
                  <a:lnTo>
                    <a:pt x="686" y="290"/>
                  </a:lnTo>
                  <a:lnTo>
                    <a:pt x="688" y="282"/>
                  </a:lnTo>
                  <a:lnTo>
                    <a:pt x="688" y="272"/>
                  </a:lnTo>
                  <a:lnTo>
                    <a:pt x="688" y="188"/>
                  </a:lnTo>
                  <a:lnTo>
                    <a:pt x="688" y="188"/>
                  </a:lnTo>
                  <a:lnTo>
                    <a:pt x="688" y="184"/>
                  </a:lnTo>
                  <a:lnTo>
                    <a:pt x="684" y="180"/>
                  </a:lnTo>
                  <a:lnTo>
                    <a:pt x="680" y="178"/>
                  </a:lnTo>
                  <a:lnTo>
                    <a:pt x="674" y="180"/>
                  </a:lnTo>
                  <a:lnTo>
                    <a:pt x="674" y="180"/>
                  </a:lnTo>
                  <a:lnTo>
                    <a:pt x="654" y="194"/>
                  </a:lnTo>
                  <a:lnTo>
                    <a:pt x="630" y="204"/>
                  </a:lnTo>
                  <a:lnTo>
                    <a:pt x="604" y="214"/>
                  </a:lnTo>
                  <a:lnTo>
                    <a:pt x="574" y="224"/>
                  </a:lnTo>
                  <a:lnTo>
                    <a:pt x="542" y="230"/>
                  </a:lnTo>
                  <a:lnTo>
                    <a:pt x="508" y="236"/>
                  </a:lnTo>
                  <a:lnTo>
                    <a:pt x="474" y="238"/>
                  </a:lnTo>
                  <a:lnTo>
                    <a:pt x="436" y="240"/>
                  </a:lnTo>
                  <a:lnTo>
                    <a:pt x="436" y="240"/>
                  </a:lnTo>
                  <a:lnTo>
                    <a:pt x="398" y="238"/>
                  </a:lnTo>
                  <a:lnTo>
                    <a:pt x="364" y="236"/>
                  </a:lnTo>
                  <a:lnTo>
                    <a:pt x="330" y="230"/>
                  </a:lnTo>
                  <a:lnTo>
                    <a:pt x="298" y="224"/>
                  </a:lnTo>
                  <a:lnTo>
                    <a:pt x="268" y="214"/>
                  </a:lnTo>
                  <a:lnTo>
                    <a:pt x="242" y="204"/>
                  </a:lnTo>
                  <a:lnTo>
                    <a:pt x="218" y="194"/>
                  </a:lnTo>
                  <a:lnTo>
                    <a:pt x="198" y="180"/>
                  </a:lnTo>
                  <a:lnTo>
                    <a:pt x="198" y="180"/>
                  </a:lnTo>
                  <a:lnTo>
                    <a:pt x="192" y="178"/>
                  </a:lnTo>
                  <a:lnTo>
                    <a:pt x="188" y="180"/>
                  </a:lnTo>
                  <a:lnTo>
                    <a:pt x="184" y="184"/>
                  </a:lnTo>
                  <a:lnTo>
                    <a:pt x="184" y="188"/>
                  </a:lnTo>
                  <a:lnTo>
                    <a:pt x="184" y="272"/>
                  </a:lnTo>
                  <a:lnTo>
                    <a:pt x="184" y="272"/>
                  </a:lnTo>
                  <a:lnTo>
                    <a:pt x="184" y="282"/>
                  </a:lnTo>
                  <a:lnTo>
                    <a:pt x="188" y="290"/>
                  </a:lnTo>
                  <a:lnTo>
                    <a:pt x="192" y="298"/>
                  </a:lnTo>
                  <a:lnTo>
                    <a:pt x="198" y="304"/>
                  </a:lnTo>
                  <a:lnTo>
                    <a:pt x="198" y="304"/>
                  </a:lnTo>
                  <a:close/>
                  <a:moveTo>
                    <a:pt x="238" y="238"/>
                  </a:moveTo>
                  <a:lnTo>
                    <a:pt x="238" y="238"/>
                  </a:lnTo>
                  <a:lnTo>
                    <a:pt x="244" y="240"/>
                  </a:lnTo>
                  <a:lnTo>
                    <a:pt x="250" y="246"/>
                  </a:lnTo>
                  <a:lnTo>
                    <a:pt x="252" y="254"/>
                  </a:lnTo>
                  <a:lnTo>
                    <a:pt x="254" y="264"/>
                  </a:lnTo>
                  <a:lnTo>
                    <a:pt x="254" y="264"/>
                  </a:lnTo>
                  <a:lnTo>
                    <a:pt x="252" y="274"/>
                  </a:lnTo>
                  <a:lnTo>
                    <a:pt x="250" y="282"/>
                  </a:lnTo>
                  <a:lnTo>
                    <a:pt x="244" y="288"/>
                  </a:lnTo>
                  <a:lnTo>
                    <a:pt x="238" y="290"/>
                  </a:lnTo>
                  <a:lnTo>
                    <a:pt x="238" y="290"/>
                  </a:lnTo>
                  <a:lnTo>
                    <a:pt x="232" y="288"/>
                  </a:lnTo>
                  <a:lnTo>
                    <a:pt x="228" y="282"/>
                  </a:lnTo>
                  <a:lnTo>
                    <a:pt x="224" y="274"/>
                  </a:lnTo>
                  <a:lnTo>
                    <a:pt x="222" y="264"/>
                  </a:lnTo>
                  <a:lnTo>
                    <a:pt x="222" y="264"/>
                  </a:lnTo>
                  <a:lnTo>
                    <a:pt x="224" y="254"/>
                  </a:lnTo>
                  <a:lnTo>
                    <a:pt x="228" y="246"/>
                  </a:lnTo>
                  <a:lnTo>
                    <a:pt x="232" y="240"/>
                  </a:lnTo>
                  <a:lnTo>
                    <a:pt x="238" y="238"/>
                  </a:lnTo>
                  <a:lnTo>
                    <a:pt x="238" y="238"/>
                  </a:lnTo>
                  <a:close/>
                  <a:moveTo>
                    <a:pt x="198" y="464"/>
                  </a:moveTo>
                  <a:lnTo>
                    <a:pt x="198" y="464"/>
                  </a:lnTo>
                  <a:lnTo>
                    <a:pt x="218" y="476"/>
                  </a:lnTo>
                  <a:lnTo>
                    <a:pt x="240" y="486"/>
                  </a:lnTo>
                  <a:lnTo>
                    <a:pt x="266" y="496"/>
                  </a:lnTo>
                  <a:lnTo>
                    <a:pt x="296" y="504"/>
                  </a:lnTo>
                  <a:lnTo>
                    <a:pt x="326" y="510"/>
                  </a:lnTo>
                  <a:lnTo>
                    <a:pt x="362" y="516"/>
                  </a:lnTo>
                  <a:lnTo>
                    <a:pt x="398" y="518"/>
                  </a:lnTo>
                  <a:lnTo>
                    <a:pt x="436" y="520"/>
                  </a:lnTo>
                  <a:lnTo>
                    <a:pt x="436" y="520"/>
                  </a:lnTo>
                  <a:lnTo>
                    <a:pt x="474" y="518"/>
                  </a:lnTo>
                  <a:lnTo>
                    <a:pt x="512" y="516"/>
                  </a:lnTo>
                  <a:lnTo>
                    <a:pt x="546" y="510"/>
                  </a:lnTo>
                  <a:lnTo>
                    <a:pt x="576" y="504"/>
                  </a:lnTo>
                  <a:lnTo>
                    <a:pt x="606" y="496"/>
                  </a:lnTo>
                  <a:lnTo>
                    <a:pt x="632" y="486"/>
                  </a:lnTo>
                  <a:lnTo>
                    <a:pt x="654" y="476"/>
                  </a:lnTo>
                  <a:lnTo>
                    <a:pt x="674" y="464"/>
                  </a:lnTo>
                  <a:lnTo>
                    <a:pt x="674" y="464"/>
                  </a:lnTo>
                  <a:lnTo>
                    <a:pt x="680" y="458"/>
                  </a:lnTo>
                  <a:lnTo>
                    <a:pt x="686" y="450"/>
                  </a:lnTo>
                  <a:lnTo>
                    <a:pt x="688" y="442"/>
                  </a:lnTo>
                  <a:lnTo>
                    <a:pt x="688" y="432"/>
                  </a:lnTo>
                  <a:lnTo>
                    <a:pt x="688" y="360"/>
                  </a:lnTo>
                  <a:lnTo>
                    <a:pt x="688" y="360"/>
                  </a:lnTo>
                  <a:lnTo>
                    <a:pt x="688" y="354"/>
                  </a:lnTo>
                  <a:lnTo>
                    <a:pt x="684" y="350"/>
                  </a:lnTo>
                  <a:lnTo>
                    <a:pt x="678" y="348"/>
                  </a:lnTo>
                  <a:lnTo>
                    <a:pt x="672" y="350"/>
                  </a:lnTo>
                  <a:lnTo>
                    <a:pt x="672" y="350"/>
                  </a:lnTo>
                  <a:lnTo>
                    <a:pt x="650" y="360"/>
                  </a:lnTo>
                  <a:lnTo>
                    <a:pt x="626" y="370"/>
                  </a:lnTo>
                  <a:lnTo>
                    <a:pt x="598" y="380"/>
                  </a:lnTo>
                  <a:lnTo>
                    <a:pt x="568" y="386"/>
                  </a:lnTo>
                  <a:lnTo>
                    <a:pt x="538" y="392"/>
                  </a:lnTo>
                  <a:lnTo>
                    <a:pt x="506" y="396"/>
                  </a:lnTo>
                  <a:lnTo>
                    <a:pt x="472" y="398"/>
                  </a:lnTo>
                  <a:lnTo>
                    <a:pt x="436" y="400"/>
                  </a:lnTo>
                  <a:lnTo>
                    <a:pt x="436" y="400"/>
                  </a:lnTo>
                  <a:lnTo>
                    <a:pt x="400" y="398"/>
                  </a:lnTo>
                  <a:lnTo>
                    <a:pt x="366" y="396"/>
                  </a:lnTo>
                  <a:lnTo>
                    <a:pt x="334" y="392"/>
                  </a:lnTo>
                  <a:lnTo>
                    <a:pt x="304" y="386"/>
                  </a:lnTo>
                  <a:lnTo>
                    <a:pt x="274" y="380"/>
                  </a:lnTo>
                  <a:lnTo>
                    <a:pt x="246" y="370"/>
                  </a:lnTo>
                  <a:lnTo>
                    <a:pt x="222" y="360"/>
                  </a:lnTo>
                  <a:lnTo>
                    <a:pt x="200" y="350"/>
                  </a:lnTo>
                  <a:lnTo>
                    <a:pt x="200" y="350"/>
                  </a:lnTo>
                  <a:lnTo>
                    <a:pt x="194" y="348"/>
                  </a:lnTo>
                  <a:lnTo>
                    <a:pt x="188" y="350"/>
                  </a:lnTo>
                  <a:lnTo>
                    <a:pt x="184" y="354"/>
                  </a:lnTo>
                  <a:lnTo>
                    <a:pt x="184" y="360"/>
                  </a:lnTo>
                  <a:lnTo>
                    <a:pt x="184" y="432"/>
                  </a:lnTo>
                  <a:lnTo>
                    <a:pt x="184" y="432"/>
                  </a:lnTo>
                  <a:lnTo>
                    <a:pt x="184" y="442"/>
                  </a:lnTo>
                  <a:lnTo>
                    <a:pt x="188" y="450"/>
                  </a:lnTo>
                  <a:lnTo>
                    <a:pt x="192" y="458"/>
                  </a:lnTo>
                  <a:lnTo>
                    <a:pt x="198" y="464"/>
                  </a:lnTo>
                  <a:lnTo>
                    <a:pt x="198" y="464"/>
                  </a:lnTo>
                  <a:close/>
                  <a:moveTo>
                    <a:pt x="238" y="396"/>
                  </a:moveTo>
                  <a:lnTo>
                    <a:pt x="238" y="396"/>
                  </a:lnTo>
                  <a:lnTo>
                    <a:pt x="244" y="398"/>
                  </a:lnTo>
                  <a:lnTo>
                    <a:pt x="250" y="404"/>
                  </a:lnTo>
                  <a:lnTo>
                    <a:pt x="252" y="412"/>
                  </a:lnTo>
                  <a:lnTo>
                    <a:pt x="254" y="422"/>
                  </a:lnTo>
                  <a:lnTo>
                    <a:pt x="254" y="422"/>
                  </a:lnTo>
                  <a:lnTo>
                    <a:pt x="252" y="432"/>
                  </a:lnTo>
                  <a:lnTo>
                    <a:pt x="250" y="440"/>
                  </a:lnTo>
                  <a:lnTo>
                    <a:pt x="244" y="446"/>
                  </a:lnTo>
                  <a:lnTo>
                    <a:pt x="238" y="448"/>
                  </a:lnTo>
                  <a:lnTo>
                    <a:pt x="238" y="448"/>
                  </a:lnTo>
                  <a:lnTo>
                    <a:pt x="232" y="446"/>
                  </a:lnTo>
                  <a:lnTo>
                    <a:pt x="228" y="440"/>
                  </a:lnTo>
                  <a:lnTo>
                    <a:pt x="224" y="432"/>
                  </a:lnTo>
                  <a:lnTo>
                    <a:pt x="222" y="422"/>
                  </a:lnTo>
                  <a:lnTo>
                    <a:pt x="222" y="422"/>
                  </a:lnTo>
                  <a:lnTo>
                    <a:pt x="224" y="412"/>
                  </a:lnTo>
                  <a:lnTo>
                    <a:pt x="228" y="404"/>
                  </a:lnTo>
                  <a:lnTo>
                    <a:pt x="232" y="398"/>
                  </a:lnTo>
                  <a:lnTo>
                    <a:pt x="238" y="396"/>
                  </a:lnTo>
                  <a:lnTo>
                    <a:pt x="238" y="396"/>
                  </a:lnTo>
                  <a:close/>
                  <a:moveTo>
                    <a:pt x="842" y="848"/>
                  </a:moveTo>
                  <a:lnTo>
                    <a:pt x="534" y="848"/>
                  </a:lnTo>
                  <a:lnTo>
                    <a:pt x="534" y="848"/>
                  </a:lnTo>
                  <a:lnTo>
                    <a:pt x="528" y="850"/>
                  </a:lnTo>
                  <a:lnTo>
                    <a:pt x="524" y="854"/>
                  </a:lnTo>
                  <a:lnTo>
                    <a:pt x="522" y="862"/>
                  </a:lnTo>
                  <a:lnTo>
                    <a:pt x="522" y="868"/>
                  </a:lnTo>
                  <a:lnTo>
                    <a:pt x="522" y="868"/>
                  </a:lnTo>
                  <a:lnTo>
                    <a:pt x="524" y="882"/>
                  </a:lnTo>
                  <a:lnTo>
                    <a:pt x="524" y="882"/>
                  </a:lnTo>
                  <a:lnTo>
                    <a:pt x="522" y="896"/>
                  </a:lnTo>
                  <a:lnTo>
                    <a:pt x="522" y="896"/>
                  </a:lnTo>
                  <a:lnTo>
                    <a:pt x="522" y="904"/>
                  </a:lnTo>
                  <a:lnTo>
                    <a:pt x="524" y="910"/>
                  </a:lnTo>
                  <a:lnTo>
                    <a:pt x="528" y="914"/>
                  </a:lnTo>
                  <a:lnTo>
                    <a:pt x="534" y="916"/>
                  </a:lnTo>
                  <a:lnTo>
                    <a:pt x="842" y="916"/>
                  </a:lnTo>
                  <a:lnTo>
                    <a:pt x="842" y="916"/>
                  </a:lnTo>
                  <a:lnTo>
                    <a:pt x="850" y="916"/>
                  </a:lnTo>
                  <a:lnTo>
                    <a:pt x="856" y="914"/>
                  </a:lnTo>
                  <a:lnTo>
                    <a:pt x="862" y="910"/>
                  </a:lnTo>
                  <a:lnTo>
                    <a:pt x="868" y="906"/>
                  </a:lnTo>
                  <a:lnTo>
                    <a:pt x="872" y="902"/>
                  </a:lnTo>
                  <a:lnTo>
                    <a:pt x="874" y="896"/>
                  </a:lnTo>
                  <a:lnTo>
                    <a:pt x="876" y="890"/>
                  </a:lnTo>
                  <a:lnTo>
                    <a:pt x="876" y="882"/>
                  </a:lnTo>
                  <a:lnTo>
                    <a:pt x="876" y="882"/>
                  </a:lnTo>
                  <a:lnTo>
                    <a:pt x="876" y="876"/>
                  </a:lnTo>
                  <a:lnTo>
                    <a:pt x="874" y="868"/>
                  </a:lnTo>
                  <a:lnTo>
                    <a:pt x="872" y="864"/>
                  </a:lnTo>
                  <a:lnTo>
                    <a:pt x="868" y="858"/>
                  </a:lnTo>
                  <a:lnTo>
                    <a:pt x="862" y="854"/>
                  </a:lnTo>
                  <a:lnTo>
                    <a:pt x="856" y="850"/>
                  </a:lnTo>
                  <a:lnTo>
                    <a:pt x="850" y="848"/>
                  </a:lnTo>
                  <a:lnTo>
                    <a:pt x="842" y="848"/>
                  </a:lnTo>
                  <a:lnTo>
                    <a:pt x="842" y="848"/>
                  </a:lnTo>
                  <a:close/>
                  <a:moveTo>
                    <a:pt x="34" y="848"/>
                  </a:moveTo>
                  <a:lnTo>
                    <a:pt x="34" y="848"/>
                  </a:lnTo>
                  <a:lnTo>
                    <a:pt x="26" y="848"/>
                  </a:lnTo>
                  <a:lnTo>
                    <a:pt x="20" y="850"/>
                  </a:lnTo>
                  <a:lnTo>
                    <a:pt x="14" y="854"/>
                  </a:lnTo>
                  <a:lnTo>
                    <a:pt x="10" y="858"/>
                  </a:lnTo>
                  <a:lnTo>
                    <a:pt x="6" y="864"/>
                  </a:lnTo>
                  <a:lnTo>
                    <a:pt x="2" y="868"/>
                  </a:lnTo>
                  <a:lnTo>
                    <a:pt x="0" y="876"/>
                  </a:lnTo>
                  <a:lnTo>
                    <a:pt x="0" y="882"/>
                  </a:lnTo>
                  <a:lnTo>
                    <a:pt x="0" y="882"/>
                  </a:lnTo>
                  <a:lnTo>
                    <a:pt x="0" y="890"/>
                  </a:lnTo>
                  <a:lnTo>
                    <a:pt x="2" y="896"/>
                  </a:lnTo>
                  <a:lnTo>
                    <a:pt x="6" y="902"/>
                  </a:lnTo>
                  <a:lnTo>
                    <a:pt x="10" y="906"/>
                  </a:lnTo>
                  <a:lnTo>
                    <a:pt x="14" y="910"/>
                  </a:lnTo>
                  <a:lnTo>
                    <a:pt x="20" y="914"/>
                  </a:lnTo>
                  <a:lnTo>
                    <a:pt x="26" y="916"/>
                  </a:lnTo>
                  <a:lnTo>
                    <a:pt x="34" y="916"/>
                  </a:lnTo>
                  <a:lnTo>
                    <a:pt x="342" y="916"/>
                  </a:lnTo>
                  <a:lnTo>
                    <a:pt x="342" y="916"/>
                  </a:lnTo>
                  <a:lnTo>
                    <a:pt x="348" y="914"/>
                  </a:lnTo>
                  <a:lnTo>
                    <a:pt x="352" y="910"/>
                  </a:lnTo>
                  <a:lnTo>
                    <a:pt x="354" y="904"/>
                  </a:lnTo>
                  <a:lnTo>
                    <a:pt x="354" y="896"/>
                  </a:lnTo>
                  <a:lnTo>
                    <a:pt x="354" y="896"/>
                  </a:lnTo>
                  <a:lnTo>
                    <a:pt x="354" y="882"/>
                  </a:lnTo>
                  <a:lnTo>
                    <a:pt x="354" y="882"/>
                  </a:lnTo>
                  <a:lnTo>
                    <a:pt x="354" y="868"/>
                  </a:lnTo>
                  <a:lnTo>
                    <a:pt x="354" y="868"/>
                  </a:lnTo>
                  <a:lnTo>
                    <a:pt x="354" y="862"/>
                  </a:lnTo>
                  <a:lnTo>
                    <a:pt x="352" y="854"/>
                  </a:lnTo>
                  <a:lnTo>
                    <a:pt x="348" y="850"/>
                  </a:lnTo>
                  <a:lnTo>
                    <a:pt x="342" y="848"/>
                  </a:lnTo>
                  <a:lnTo>
                    <a:pt x="34" y="848"/>
                  </a:lnTo>
                  <a:close/>
                  <a:moveTo>
                    <a:pt x="460" y="818"/>
                  </a:moveTo>
                  <a:lnTo>
                    <a:pt x="460" y="678"/>
                  </a:lnTo>
                  <a:lnTo>
                    <a:pt x="460" y="678"/>
                  </a:lnTo>
                  <a:lnTo>
                    <a:pt x="494" y="676"/>
                  </a:lnTo>
                  <a:lnTo>
                    <a:pt x="528" y="672"/>
                  </a:lnTo>
                  <a:lnTo>
                    <a:pt x="558" y="668"/>
                  </a:lnTo>
                  <a:lnTo>
                    <a:pt x="586" y="660"/>
                  </a:lnTo>
                  <a:lnTo>
                    <a:pt x="612" y="654"/>
                  </a:lnTo>
                  <a:lnTo>
                    <a:pt x="636" y="644"/>
                  </a:lnTo>
                  <a:lnTo>
                    <a:pt x="656" y="634"/>
                  </a:lnTo>
                  <a:lnTo>
                    <a:pt x="674" y="624"/>
                  </a:lnTo>
                  <a:lnTo>
                    <a:pt x="674" y="624"/>
                  </a:lnTo>
                  <a:lnTo>
                    <a:pt x="680" y="618"/>
                  </a:lnTo>
                  <a:lnTo>
                    <a:pt x="686" y="610"/>
                  </a:lnTo>
                  <a:lnTo>
                    <a:pt x="688" y="602"/>
                  </a:lnTo>
                  <a:lnTo>
                    <a:pt x="688" y="592"/>
                  </a:lnTo>
                  <a:lnTo>
                    <a:pt x="688" y="520"/>
                  </a:lnTo>
                  <a:lnTo>
                    <a:pt x="688" y="520"/>
                  </a:lnTo>
                  <a:lnTo>
                    <a:pt x="688" y="514"/>
                  </a:lnTo>
                  <a:lnTo>
                    <a:pt x="684" y="510"/>
                  </a:lnTo>
                  <a:lnTo>
                    <a:pt x="678" y="508"/>
                  </a:lnTo>
                  <a:lnTo>
                    <a:pt x="672" y="510"/>
                  </a:lnTo>
                  <a:lnTo>
                    <a:pt x="672" y="510"/>
                  </a:lnTo>
                  <a:lnTo>
                    <a:pt x="650" y="522"/>
                  </a:lnTo>
                  <a:lnTo>
                    <a:pt x="626" y="530"/>
                  </a:lnTo>
                  <a:lnTo>
                    <a:pt x="598" y="540"/>
                  </a:lnTo>
                  <a:lnTo>
                    <a:pt x="568" y="546"/>
                  </a:lnTo>
                  <a:lnTo>
                    <a:pt x="538" y="552"/>
                  </a:lnTo>
                  <a:lnTo>
                    <a:pt x="506" y="556"/>
                  </a:lnTo>
                  <a:lnTo>
                    <a:pt x="472" y="558"/>
                  </a:lnTo>
                  <a:lnTo>
                    <a:pt x="436" y="560"/>
                  </a:lnTo>
                  <a:lnTo>
                    <a:pt x="436" y="560"/>
                  </a:lnTo>
                  <a:lnTo>
                    <a:pt x="400" y="558"/>
                  </a:lnTo>
                  <a:lnTo>
                    <a:pt x="366" y="556"/>
                  </a:lnTo>
                  <a:lnTo>
                    <a:pt x="334" y="552"/>
                  </a:lnTo>
                  <a:lnTo>
                    <a:pt x="304" y="546"/>
                  </a:lnTo>
                  <a:lnTo>
                    <a:pt x="274" y="540"/>
                  </a:lnTo>
                  <a:lnTo>
                    <a:pt x="246" y="530"/>
                  </a:lnTo>
                  <a:lnTo>
                    <a:pt x="222" y="522"/>
                  </a:lnTo>
                  <a:lnTo>
                    <a:pt x="200" y="510"/>
                  </a:lnTo>
                  <a:lnTo>
                    <a:pt x="200" y="510"/>
                  </a:lnTo>
                  <a:lnTo>
                    <a:pt x="194" y="508"/>
                  </a:lnTo>
                  <a:lnTo>
                    <a:pt x="188" y="510"/>
                  </a:lnTo>
                  <a:lnTo>
                    <a:pt x="184" y="514"/>
                  </a:lnTo>
                  <a:lnTo>
                    <a:pt x="184" y="520"/>
                  </a:lnTo>
                  <a:lnTo>
                    <a:pt x="184" y="592"/>
                  </a:lnTo>
                  <a:lnTo>
                    <a:pt x="184" y="592"/>
                  </a:lnTo>
                  <a:lnTo>
                    <a:pt x="184" y="602"/>
                  </a:lnTo>
                  <a:lnTo>
                    <a:pt x="188" y="610"/>
                  </a:lnTo>
                  <a:lnTo>
                    <a:pt x="192" y="618"/>
                  </a:lnTo>
                  <a:lnTo>
                    <a:pt x="198" y="624"/>
                  </a:lnTo>
                  <a:lnTo>
                    <a:pt x="198" y="624"/>
                  </a:lnTo>
                  <a:lnTo>
                    <a:pt x="216" y="634"/>
                  </a:lnTo>
                  <a:lnTo>
                    <a:pt x="238" y="644"/>
                  </a:lnTo>
                  <a:lnTo>
                    <a:pt x="262" y="654"/>
                  </a:lnTo>
                  <a:lnTo>
                    <a:pt x="288" y="662"/>
                  </a:lnTo>
                  <a:lnTo>
                    <a:pt x="316" y="668"/>
                  </a:lnTo>
                  <a:lnTo>
                    <a:pt x="348" y="674"/>
                  </a:lnTo>
                  <a:lnTo>
                    <a:pt x="380" y="676"/>
                  </a:lnTo>
                  <a:lnTo>
                    <a:pt x="416" y="678"/>
                  </a:lnTo>
                  <a:lnTo>
                    <a:pt x="416" y="818"/>
                  </a:lnTo>
                  <a:lnTo>
                    <a:pt x="416" y="818"/>
                  </a:lnTo>
                  <a:lnTo>
                    <a:pt x="406" y="822"/>
                  </a:lnTo>
                  <a:lnTo>
                    <a:pt x="398" y="828"/>
                  </a:lnTo>
                  <a:lnTo>
                    <a:pt x="390" y="834"/>
                  </a:lnTo>
                  <a:lnTo>
                    <a:pt x="384" y="842"/>
                  </a:lnTo>
                  <a:lnTo>
                    <a:pt x="378" y="852"/>
                  </a:lnTo>
                  <a:lnTo>
                    <a:pt x="374" y="860"/>
                  </a:lnTo>
                  <a:lnTo>
                    <a:pt x="372" y="872"/>
                  </a:lnTo>
                  <a:lnTo>
                    <a:pt x="370" y="882"/>
                  </a:lnTo>
                  <a:lnTo>
                    <a:pt x="370" y="882"/>
                  </a:lnTo>
                  <a:lnTo>
                    <a:pt x="372" y="896"/>
                  </a:lnTo>
                  <a:lnTo>
                    <a:pt x="376" y="908"/>
                  </a:lnTo>
                  <a:lnTo>
                    <a:pt x="382" y="920"/>
                  </a:lnTo>
                  <a:lnTo>
                    <a:pt x="390" y="930"/>
                  </a:lnTo>
                  <a:lnTo>
                    <a:pt x="400" y="938"/>
                  </a:lnTo>
                  <a:lnTo>
                    <a:pt x="412" y="944"/>
                  </a:lnTo>
                  <a:lnTo>
                    <a:pt x="424" y="948"/>
                  </a:lnTo>
                  <a:lnTo>
                    <a:pt x="438" y="950"/>
                  </a:lnTo>
                  <a:lnTo>
                    <a:pt x="438" y="950"/>
                  </a:lnTo>
                  <a:lnTo>
                    <a:pt x="452" y="948"/>
                  </a:lnTo>
                  <a:lnTo>
                    <a:pt x="464" y="944"/>
                  </a:lnTo>
                  <a:lnTo>
                    <a:pt x="476" y="938"/>
                  </a:lnTo>
                  <a:lnTo>
                    <a:pt x="486" y="930"/>
                  </a:lnTo>
                  <a:lnTo>
                    <a:pt x="494" y="920"/>
                  </a:lnTo>
                  <a:lnTo>
                    <a:pt x="500" y="908"/>
                  </a:lnTo>
                  <a:lnTo>
                    <a:pt x="504" y="896"/>
                  </a:lnTo>
                  <a:lnTo>
                    <a:pt x="506" y="882"/>
                  </a:lnTo>
                  <a:lnTo>
                    <a:pt x="506" y="882"/>
                  </a:lnTo>
                  <a:lnTo>
                    <a:pt x="506" y="872"/>
                  </a:lnTo>
                  <a:lnTo>
                    <a:pt x="502" y="860"/>
                  </a:lnTo>
                  <a:lnTo>
                    <a:pt x="498" y="852"/>
                  </a:lnTo>
                  <a:lnTo>
                    <a:pt x="494" y="842"/>
                  </a:lnTo>
                  <a:lnTo>
                    <a:pt x="486" y="834"/>
                  </a:lnTo>
                  <a:lnTo>
                    <a:pt x="478" y="828"/>
                  </a:lnTo>
                  <a:lnTo>
                    <a:pt x="470" y="822"/>
                  </a:lnTo>
                  <a:lnTo>
                    <a:pt x="460" y="818"/>
                  </a:lnTo>
                  <a:lnTo>
                    <a:pt x="460" y="818"/>
                  </a:lnTo>
                  <a:close/>
                  <a:moveTo>
                    <a:pt x="238" y="606"/>
                  </a:moveTo>
                  <a:lnTo>
                    <a:pt x="238" y="606"/>
                  </a:lnTo>
                  <a:lnTo>
                    <a:pt x="232" y="604"/>
                  </a:lnTo>
                  <a:lnTo>
                    <a:pt x="228" y="598"/>
                  </a:lnTo>
                  <a:lnTo>
                    <a:pt x="224" y="590"/>
                  </a:lnTo>
                  <a:lnTo>
                    <a:pt x="222" y="580"/>
                  </a:lnTo>
                  <a:lnTo>
                    <a:pt x="222" y="580"/>
                  </a:lnTo>
                  <a:lnTo>
                    <a:pt x="224" y="570"/>
                  </a:lnTo>
                  <a:lnTo>
                    <a:pt x="228" y="562"/>
                  </a:lnTo>
                  <a:lnTo>
                    <a:pt x="232" y="556"/>
                  </a:lnTo>
                  <a:lnTo>
                    <a:pt x="238" y="554"/>
                  </a:lnTo>
                  <a:lnTo>
                    <a:pt x="238" y="554"/>
                  </a:lnTo>
                  <a:lnTo>
                    <a:pt x="244" y="556"/>
                  </a:lnTo>
                  <a:lnTo>
                    <a:pt x="250" y="562"/>
                  </a:lnTo>
                  <a:lnTo>
                    <a:pt x="252" y="570"/>
                  </a:lnTo>
                  <a:lnTo>
                    <a:pt x="254" y="580"/>
                  </a:lnTo>
                  <a:lnTo>
                    <a:pt x="254" y="580"/>
                  </a:lnTo>
                  <a:lnTo>
                    <a:pt x="252" y="590"/>
                  </a:lnTo>
                  <a:lnTo>
                    <a:pt x="250" y="598"/>
                  </a:lnTo>
                  <a:lnTo>
                    <a:pt x="244" y="604"/>
                  </a:lnTo>
                  <a:lnTo>
                    <a:pt x="238" y="606"/>
                  </a:lnTo>
                  <a:lnTo>
                    <a:pt x="238" y="6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endParaRPr lang="zh-CN" altLang="en-US">
                <a:latin typeface="Arial" panose="020B0604020202020204" pitchFamily="34" charset="0"/>
                <a:ea typeface="微软雅黑" panose="020B0503020204020204" pitchFamily="34" charset="-122"/>
                <a:cs typeface="Arial" panose="020B0604020202020204" pitchFamily="34" charset="0"/>
              </a:endParaRPr>
            </a:p>
          </p:txBody>
        </p:sp>
      </p:grpSp>
      <p:pic>
        <p:nvPicPr>
          <p:cNvPr id="101" name="Picture 4" descr="http://img0.imgtn.bdimg.com/it/u=1837208561,774216901&amp;fm=21&amp;gp=0.jpg"/>
          <p:cNvPicPr>
            <a:picLocks noChangeAspect="1" noChangeArrowheads="1"/>
          </p:cNvPicPr>
          <p:nvPr/>
        </p:nvPicPr>
        <p:blipFill>
          <a:blip r:embed="rId12" cstate="print"/>
          <a:srcRect/>
          <a:stretch>
            <a:fillRect/>
          </a:stretch>
        </p:blipFill>
        <p:spPr bwMode="auto">
          <a:xfrm>
            <a:off x="149704" y="1130474"/>
            <a:ext cx="704428" cy="476024"/>
          </a:xfrm>
          <a:prstGeom prst="rect">
            <a:avLst/>
          </a:prstGeom>
          <a:noFill/>
        </p:spPr>
      </p:pic>
      <p:pic>
        <p:nvPicPr>
          <p:cNvPr id="103" name="Picture 6" descr="http://img1.imgtn.bdimg.com/it/u=2113083557,3609640758&amp;fm=21&amp;gp=0.jpg"/>
          <p:cNvPicPr>
            <a:picLocks noChangeAspect="1" noChangeArrowheads="1"/>
          </p:cNvPicPr>
          <p:nvPr/>
        </p:nvPicPr>
        <p:blipFill>
          <a:blip r:embed="rId13" cstate="print"/>
          <a:srcRect/>
          <a:stretch>
            <a:fillRect/>
          </a:stretch>
        </p:blipFill>
        <p:spPr bwMode="auto">
          <a:xfrm>
            <a:off x="1804958" y="1157961"/>
            <a:ext cx="712321" cy="449090"/>
          </a:xfrm>
          <a:prstGeom prst="rect">
            <a:avLst/>
          </a:prstGeom>
          <a:noFill/>
        </p:spPr>
      </p:pic>
      <p:pic>
        <p:nvPicPr>
          <p:cNvPr id="104" name="Picture 3"/>
          <p:cNvPicPr>
            <a:picLocks noChangeAspect="1" noChangeArrowheads="1"/>
          </p:cNvPicPr>
          <p:nvPr/>
        </p:nvPicPr>
        <p:blipFill>
          <a:blip r:embed="rId14" cstate="print"/>
          <a:srcRect/>
          <a:stretch>
            <a:fillRect/>
          </a:stretch>
        </p:blipFill>
        <p:spPr bwMode="auto">
          <a:xfrm>
            <a:off x="2618466" y="1179170"/>
            <a:ext cx="689106" cy="419890"/>
          </a:xfrm>
          <a:prstGeom prst="rect">
            <a:avLst/>
          </a:prstGeom>
          <a:noFill/>
          <a:ln w="9525">
            <a:noFill/>
            <a:miter lim="800000"/>
            <a:headEnd/>
            <a:tailEnd/>
          </a:ln>
        </p:spPr>
      </p:pic>
      <p:sp>
        <p:nvSpPr>
          <p:cNvPr id="105" name="1664776027"/>
          <p:cNvSpPr/>
          <p:nvPr/>
        </p:nvSpPr>
        <p:spPr>
          <a:xfrm>
            <a:off x="-152350" y="1664020"/>
            <a:ext cx="1296950" cy="40011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1000" dirty="0" smtClean="0">
                <a:solidFill>
                  <a:prstClr val="black"/>
                </a:solidFill>
                <a:latin typeface="Arial" panose="020B0604020202020204" pitchFamily="34" charset="0"/>
                <a:ea typeface="微软雅黑"/>
                <a:cs typeface="微软雅黑"/>
              </a:rPr>
              <a:t>Meteorological monitoring</a:t>
            </a:r>
            <a:endParaRPr kumimoji="1" lang="zh-CN" altLang="en-US" sz="1000" dirty="0">
              <a:solidFill>
                <a:prstClr val="black"/>
              </a:solidFill>
              <a:latin typeface="Arial" panose="020B0604020202020204" pitchFamily="34" charset="0"/>
              <a:ea typeface="微软雅黑"/>
              <a:cs typeface="微软雅黑"/>
            </a:endParaRPr>
          </a:p>
        </p:txBody>
      </p:sp>
      <p:sp>
        <p:nvSpPr>
          <p:cNvPr id="106" name="1926914988"/>
          <p:cNvSpPr/>
          <p:nvPr/>
        </p:nvSpPr>
        <p:spPr>
          <a:xfrm>
            <a:off x="889817" y="1664020"/>
            <a:ext cx="777083" cy="40011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1000" dirty="0" smtClean="0">
                <a:solidFill>
                  <a:prstClr val="black"/>
                </a:solidFill>
                <a:latin typeface="Arial" panose="020B0604020202020204" pitchFamily="34" charset="0"/>
                <a:ea typeface="微软雅黑"/>
                <a:cs typeface="微软雅黑"/>
              </a:rPr>
              <a:t>Municipal DC</a:t>
            </a:r>
            <a:endParaRPr kumimoji="1" lang="zh-CN" altLang="en-US" sz="1000" dirty="0">
              <a:solidFill>
                <a:prstClr val="black"/>
              </a:solidFill>
              <a:latin typeface="Arial" panose="020B0604020202020204" pitchFamily="34" charset="0"/>
              <a:ea typeface="微软雅黑"/>
              <a:cs typeface="微软雅黑"/>
            </a:endParaRPr>
          </a:p>
        </p:txBody>
      </p:sp>
      <p:sp>
        <p:nvSpPr>
          <p:cNvPr id="107" name="540315524"/>
          <p:cNvSpPr/>
          <p:nvPr/>
        </p:nvSpPr>
        <p:spPr>
          <a:xfrm>
            <a:off x="1701643" y="1664020"/>
            <a:ext cx="810303" cy="40011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1000" dirty="0" smtClean="0">
                <a:solidFill>
                  <a:prstClr val="black"/>
                </a:solidFill>
                <a:latin typeface="Arial" panose="020B0604020202020204" pitchFamily="34" charset="0"/>
                <a:ea typeface="微软雅黑"/>
                <a:cs typeface="微软雅黑"/>
              </a:rPr>
              <a:t>Noise monitoring</a:t>
            </a:r>
            <a:endParaRPr kumimoji="1" lang="zh-CN" altLang="en-US" sz="1000" dirty="0">
              <a:solidFill>
                <a:prstClr val="black"/>
              </a:solidFill>
              <a:latin typeface="Arial" panose="020B0604020202020204" pitchFamily="34" charset="0"/>
              <a:ea typeface="微软雅黑"/>
              <a:cs typeface="微软雅黑"/>
            </a:endParaRPr>
          </a:p>
        </p:txBody>
      </p:sp>
      <p:sp>
        <p:nvSpPr>
          <p:cNvPr id="108" name="725505813"/>
          <p:cNvSpPr/>
          <p:nvPr/>
        </p:nvSpPr>
        <p:spPr>
          <a:xfrm>
            <a:off x="2478158" y="1588780"/>
            <a:ext cx="972000" cy="553998"/>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1000" dirty="0" smtClean="0">
                <a:solidFill>
                  <a:prstClr val="black"/>
                </a:solidFill>
                <a:latin typeface="Arial" panose="020B0604020202020204" pitchFamily="34" charset="0"/>
                <a:ea typeface="微软雅黑"/>
                <a:cs typeface="微软雅黑"/>
              </a:rPr>
              <a:t>Pushing dust raising/PM2.5 information</a:t>
            </a:r>
            <a:endParaRPr kumimoji="1" lang="zh-CN" altLang="en-US" sz="1000" dirty="0">
              <a:solidFill>
                <a:prstClr val="black"/>
              </a:solidFill>
              <a:latin typeface="Arial" panose="020B0604020202020204" pitchFamily="34" charset="0"/>
              <a:ea typeface="微软雅黑"/>
              <a:cs typeface="微软雅黑"/>
            </a:endParaRPr>
          </a:p>
        </p:txBody>
      </p:sp>
      <p:grpSp>
        <p:nvGrpSpPr>
          <p:cNvPr id="9" name="2076003362"/>
          <p:cNvGrpSpPr/>
          <p:nvPr/>
        </p:nvGrpSpPr>
        <p:grpSpPr>
          <a:xfrm>
            <a:off x="2449463" y="4998715"/>
            <a:ext cx="4363913" cy="3387739"/>
            <a:chOff x="7715" y="4998715"/>
            <a:chExt cx="4363913" cy="3387739"/>
          </a:xfrm>
        </p:grpSpPr>
        <p:sp>
          <p:nvSpPr>
            <p:cNvPr id="8" name="矩形 7"/>
            <p:cNvSpPr/>
            <p:nvPr/>
          </p:nvSpPr>
          <p:spPr bwMode="auto">
            <a:xfrm>
              <a:off x="44624" y="4998715"/>
              <a:ext cx="4327004" cy="3387739"/>
            </a:xfrm>
            <a:prstGeom prst="rect">
              <a:avLst/>
            </a:prstGeom>
            <a:noFill/>
            <a:ln w="9525" cap="flat" cmpd="sng" algn="ctr">
              <a:solidFill>
                <a:schemeClr val="tx2">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tabLst/>
              </a:pPr>
              <a:endParaRPr lang="zh-CN" altLang="en-US" dirty="0" smtClean="0">
                <a:latin typeface="Arial" panose="020B0604020202020204" pitchFamily="34" charset="0"/>
                <a:ea typeface="微软雅黑" panose="020B0503020204020204" pitchFamily="34" charset="-122"/>
                <a:cs typeface="Arial" panose="020B0604020202020204" pitchFamily="34" charset="0"/>
              </a:endParaRPr>
            </a:p>
          </p:txBody>
        </p:sp>
        <p:cxnSp>
          <p:nvCxnSpPr>
            <p:cNvPr id="19" name="直接连接符 18"/>
            <p:cNvCxnSpPr/>
            <p:nvPr/>
          </p:nvCxnSpPr>
          <p:spPr>
            <a:xfrm flipV="1">
              <a:off x="230499" y="7020272"/>
              <a:ext cx="3851791" cy="2"/>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flipV="1">
              <a:off x="260648" y="6118074"/>
              <a:ext cx="3851791" cy="2"/>
            </a:xfrm>
            <a:prstGeom prst="line">
              <a:avLst/>
            </a:prstGeom>
          </p:spPr>
          <p:style>
            <a:lnRef idx="1">
              <a:schemeClr val="accent1"/>
            </a:lnRef>
            <a:fillRef idx="0">
              <a:schemeClr val="accent1"/>
            </a:fillRef>
            <a:effectRef idx="0">
              <a:schemeClr val="accent1"/>
            </a:effectRef>
            <a:fontRef idx="minor">
              <a:schemeClr val="tx1"/>
            </a:fontRef>
          </p:style>
        </p:cxnSp>
        <p:sp>
          <p:nvSpPr>
            <p:cNvPr id="21" name="Freeform 27"/>
            <p:cNvSpPr>
              <a:spLocks noEditPoints="1"/>
            </p:cNvSpPr>
            <p:nvPr/>
          </p:nvSpPr>
          <p:spPr bwMode="auto">
            <a:xfrm>
              <a:off x="1091514" y="6376642"/>
              <a:ext cx="1875358" cy="571622"/>
            </a:xfrm>
            <a:custGeom>
              <a:avLst/>
              <a:gdLst>
                <a:gd name="T0" fmla="*/ 2147483647 w 16443"/>
                <a:gd name="T1" fmla="*/ 2147483647 h 11487"/>
                <a:gd name="T2" fmla="*/ 2147483647 w 16443"/>
                <a:gd name="T3" fmla="*/ 2147483647 h 11487"/>
                <a:gd name="T4" fmla="*/ 2147483647 w 16443"/>
                <a:gd name="T5" fmla="*/ 2147483647 h 11487"/>
                <a:gd name="T6" fmla="*/ 2147483647 w 16443"/>
                <a:gd name="T7" fmla="*/ 2147483647 h 11487"/>
                <a:gd name="T8" fmla="*/ 2147483647 w 16443"/>
                <a:gd name="T9" fmla="*/ 2147483647 h 11487"/>
                <a:gd name="T10" fmla="*/ 2147483647 w 16443"/>
                <a:gd name="T11" fmla="*/ 2147483647 h 11487"/>
                <a:gd name="T12" fmla="*/ 2147483647 w 16443"/>
                <a:gd name="T13" fmla="*/ 2147483647 h 11487"/>
                <a:gd name="T14" fmla="*/ 2147483647 w 16443"/>
                <a:gd name="T15" fmla="*/ 2147483647 h 11487"/>
                <a:gd name="T16" fmla="*/ 2147483647 w 16443"/>
                <a:gd name="T17" fmla="*/ 2147483647 h 11487"/>
                <a:gd name="T18" fmla="*/ 2147483647 w 16443"/>
                <a:gd name="T19" fmla="*/ 2147483647 h 11487"/>
                <a:gd name="T20" fmla="*/ 2147483647 w 16443"/>
                <a:gd name="T21" fmla="*/ 2147483647 h 11487"/>
                <a:gd name="T22" fmla="*/ 2147483647 w 16443"/>
                <a:gd name="T23" fmla="*/ 2147483647 h 11487"/>
                <a:gd name="T24" fmla="*/ 2147483647 w 16443"/>
                <a:gd name="T25" fmla="*/ 2147483647 h 11487"/>
                <a:gd name="T26" fmla="*/ 2147483647 w 16443"/>
                <a:gd name="T27" fmla="*/ 2147483647 h 11487"/>
                <a:gd name="T28" fmla="*/ 2147483647 w 16443"/>
                <a:gd name="T29" fmla="*/ 2147483647 h 11487"/>
                <a:gd name="T30" fmla="*/ 2147483647 w 16443"/>
                <a:gd name="T31" fmla="*/ 2147483647 h 11487"/>
                <a:gd name="T32" fmla="*/ 2147483647 w 16443"/>
                <a:gd name="T33" fmla="*/ 2147483647 h 11487"/>
                <a:gd name="T34" fmla="*/ 2147483647 w 16443"/>
                <a:gd name="T35" fmla="*/ 2147483647 h 11487"/>
                <a:gd name="T36" fmla="*/ 2147483647 w 16443"/>
                <a:gd name="T37" fmla="*/ 2147483647 h 11487"/>
                <a:gd name="T38" fmla="*/ 2147483647 w 16443"/>
                <a:gd name="T39" fmla="*/ 2147483647 h 11487"/>
                <a:gd name="T40" fmla="*/ 2147483647 w 16443"/>
                <a:gd name="T41" fmla="*/ 2147483647 h 11487"/>
                <a:gd name="T42" fmla="*/ 2147483647 w 16443"/>
                <a:gd name="T43" fmla="*/ 2147483647 h 11487"/>
                <a:gd name="T44" fmla="*/ 2147483647 w 16443"/>
                <a:gd name="T45" fmla="*/ 2147483647 h 11487"/>
                <a:gd name="T46" fmla="*/ 2147483647 w 16443"/>
                <a:gd name="T47" fmla="*/ 2147483647 h 11487"/>
                <a:gd name="T48" fmla="*/ 2147483647 w 16443"/>
                <a:gd name="T49" fmla="*/ 2147483647 h 11487"/>
                <a:gd name="T50" fmla="*/ 2147483647 w 16443"/>
                <a:gd name="T51" fmla="*/ 2147483647 h 11487"/>
                <a:gd name="T52" fmla="*/ 2147483647 w 16443"/>
                <a:gd name="T53" fmla="*/ 2147483647 h 11487"/>
                <a:gd name="T54" fmla="*/ 2147483647 w 16443"/>
                <a:gd name="T55" fmla="*/ 2147483647 h 11487"/>
                <a:gd name="T56" fmla="*/ 2147483647 w 16443"/>
                <a:gd name="T57" fmla="*/ 2147483647 h 11487"/>
                <a:gd name="T58" fmla="*/ 2147483647 w 16443"/>
                <a:gd name="T59" fmla="*/ 2147483647 h 11487"/>
                <a:gd name="T60" fmla="*/ 2147483647 w 16443"/>
                <a:gd name="T61" fmla="*/ 2147483647 h 11487"/>
                <a:gd name="T62" fmla="*/ 2147483647 w 16443"/>
                <a:gd name="T63" fmla="*/ 2147483647 h 11487"/>
                <a:gd name="T64" fmla="*/ 2147483647 w 16443"/>
                <a:gd name="T65" fmla="*/ 2147483647 h 11487"/>
                <a:gd name="T66" fmla="*/ 2147483647 w 16443"/>
                <a:gd name="T67" fmla="*/ 2147483647 h 11487"/>
                <a:gd name="T68" fmla="*/ 2147483647 w 16443"/>
                <a:gd name="T69" fmla="*/ 2147483647 h 11487"/>
                <a:gd name="T70" fmla="*/ 2147483647 w 16443"/>
                <a:gd name="T71" fmla="*/ 2147483647 h 11487"/>
                <a:gd name="T72" fmla="*/ 2147483647 w 16443"/>
                <a:gd name="T73" fmla="*/ 2147483647 h 11487"/>
                <a:gd name="T74" fmla="*/ 2147483647 w 16443"/>
                <a:gd name="T75" fmla="*/ 2147483647 h 11487"/>
                <a:gd name="T76" fmla="*/ 2147483647 w 16443"/>
                <a:gd name="T77" fmla="*/ 2147483647 h 11487"/>
                <a:gd name="T78" fmla="*/ 2147483647 w 16443"/>
                <a:gd name="T79" fmla="*/ 2147483647 h 11487"/>
                <a:gd name="T80" fmla="*/ 2147483647 w 16443"/>
                <a:gd name="T81" fmla="*/ 2147483647 h 11487"/>
                <a:gd name="T82" fmla="*/ 2147483647 w 16443"/>
                <a:gd name="T83" fmla="*/ 2147483647 h 11487"/>
                <a:gd name="T84" fmla="*/ 2147483647 w 16443"/>
                <a:gd name="T85" fmla="*/ 2147483647 h 11487"/>
                <a:gd name="T86" fmla="*/ 2147483647 w 16443"/>
                <a:gd name="T87" fmla="*/ 2147483647 h 11487"/>
                <a:gd name="T88" fmla="*/ 2147483647 w 16443"/>
                <a:gd name="T89" fmla="*/ 2147483647 h 11487"/>
                <a:gd name="T90" fmla="*/ 2147483647 w 16443"/>
                <a:gd name="T91" fmla="*/ 2147483647 h 11487"/>
                <a:gd name="T92" fmla="*/ 2147483647 w 16443"/>
                <a:gd name="T93" fmla="*/ 2147483647 h 11487"/>
                <a:gd name="T94" fmla="*/ 2147483647 w 16443"/>
                <a:gd name="T95" fmla="*/ 2147483647 h 11487"/>
                <a:gd name="T96" fmla="*/ 2147483647 w 16443"/>
                <a:gd name="T97" fmla="*/ 2147483647 h 11487"/>
                <a:gd name="T98" fmla="*/ 2147483647 w 16443"/>
                <a:gd name="T99" fmla="*/ 2147483647 h 11487"/>
                <a:gd name="T100" fmla="*/ 2147483647 w 16443"/>
                <a:gd name="T101" fmla="*/ 2147483647 h 11487"/>
                <a:gd name="T102" fmla="*/ 2147483647 w 16443"/>
                <a:gd name="T103" fmla="*/ 2147483647 h 11487"/>
                <a:gd name="T104" fmla="*/ 2147483647 w 16443"/>
                <a:gd name="T105" fmla="*/ 2147483647 h 11487"/>
                <a:gd name="T106" fmla="*/ 2147483647 w 16443"/>
                <a:gd name="T107" fmla="*/ 2147483647 h 11487"/>
                <a:gd name="T108" fmla="*/ 2147483647 w 16443"/>
                <a:gd name="T109" fmla="*/ 2147483647 h 11487"/>
                <a:gd name="T110" fmla="*/ 2147483647 w 16443"/>
                <a:gd name="T111" fmla="*/ 2147483647 h 11487"/>
                <a:gd name="T112" fmla="*/ 2147483647 w 16443"/>
                <a:gd name="T113" fmla="*/ 2147483647 h 1148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443"/>
                <a:gd name="T172" fmla="*/ 0 h 11487"/>
                <a:gd name="T173" fmla="*/ 16443 w 16443"/>
                <a:gd name="T174" fmla="*/ 11487 h 1148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66FFFF"/>
            </a:solidFill>
            <a:ln>
              <a:noFill/>
            </a:ln>
          </p:spPr>
          <p:txBody>
            <a:bodyPr wrap="none" anchor="ctr"/>
            <a:lstStyle/>
            <a:p>
              <a:pPr eaLnBrk="1" hangingPunct="1">
                <a:defRPr/>
              </a:pPr>
              <a:endParaRPr lang="zh-CN" altLang="en-US" dirty="0">
                <a:solidFill>
                  <a:srgbClr val="000000"/>
                </a:solidFill>
                <a:latin typeface="Arial" panose="020B0604020202020204" pitchFamily="34" charset="0"/>
              </a:endParaRPr>
            </a:p>
          </p:txBody>
        </p:sp>
        <p:sp>
          <p:nvSpPr>
            <p:cNvPr id="22" name="TextBox 53"/>
            <p:cNvSpPr txBox="1">
              <a:spLocks noChangeArrowheads="1"/>
            </p:cNvSpPr>
            <p:nvPr/>
          </p:nvSpPr>
          <p:spPr bwMode="auto">
            <a:xfrm>
              <a:off x="986061" y="6557312"/>
              <a:ext cx="1316177" cy="438582"/>
            </a:xfrm>
            <a:prstGeom prst="rect">
              <a:avLst/>
            </a:prstGeom>
            <a:noFill/>
            <a:ln w="9525">
              <a:noFill/>
              <a:miter lim="800000"/>
              <a:headEnd/>
              <a:tailEnd/>
            </a:ln>
          </p:spPr>
          <p:txBody>
            <a:bodyPr wrap="square">
              <a:spAutoFit/>
            </a:bodyPr>
            <a:lstStyle/>
            <a:p>
              <a:pPr algn="ctr"/>
              <a:r>
                <a:rPr lang="en-US" altLang="zh-CN" sz="1200" b="1" dirty="0" smtClean="0">
                  <a:latin typeface="Arial" panose="020B0604020202020204" pitchFamily="34" charset="0"/>
                  <a:ea typeface="微软雅黑" panose="020B0503020204020204" pitchFamily="34" charset="-122"/>
                </a:rPr>
                <a:t>eLTE-IoT</a:t>
              </a:r>
            </a:p>
            <a:p>
              <a:pPr algn="ctr"/>
              <a:r>
                <a:rPr lang="en-US" altLang="zh-CN" sz="1000" dirty="0" smtClean="0">
                  <a:latin typeface="Arial" panose="020B0604020202020204" pitchFamily="34" charset="0"/>
                  <a:ea typeface="微软雅黑" panose="020B0503020204020204" pitchFamily="34" charset="-122"/>
                </a:rPr>
                <a:t>ISM band</a:t>
              </a:r>
            </a:p>
          </p:txBody>
        </p:sp>
        <p:pic>
          <p:nvPicPr>
            <p:cNvPr id="23" name="Picture 2"/>
            <p:cNvPicPr>
              <a:picLocks noChangeAspect="1" noChangeArrowheads="1"/>
            </p:cNvPicPr>
            <p:nvPr/>
          </p:nvPicPr>
          <p:blipFill>
            <a:blip r:embed="rId5" cstate="email">
              <a:clrChange>
                <a:clrFrom>
                  <a:srgbClr val="FFFFFF"/>
                </a:clrFrom>
                <a:clrTo>
                  <a:srgbClr val="FFFFFF">
                    <a:alpha val="0"/>
                  </a:srgbClr>
                </a:clrTo>
              </a:clrChange>
            </a:blip>
            <a:srcRect/>
            <a:stretch>
              <a:fillRect/>
            </a:stretch>
          </p:blipFill>
          <p:spPr bwMode="auto">
            <a:xfrm>
              <a:off x="1456209" y="6148402"/>
              <a:ext cx="351001" cy="471719"/>
            </a:xfrm>
            <a:prstGeom prst="rect">
              <a:avLst/>
            </a:prstGeom>
            <a:noFill/>
            <a:ln w="9525">
              <a:noFill/>
              <a:miter lim="800000"/>
              <a:headEnd/>
              <a:tailEnd/>
            </a:ln>
            <a:effectLst/>
          </p:spPr>
        </p:pic>
        <p:sp>
          <p:nvSpPr>
            <p:cNvPr id="40" name="矩形 39"/>
            <p:cNvSpPr/>
            <p:nvPr/>
          </p:nvSpPr>
          <p:spPr>
            <a:xfrm>
              <a:off x="3468824" y="7524640"/>
              <a:ext cx="813074" cy="320692"/>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en-US" altLang="zh-CN" sz="900" b="1" dirty="0" smtClean="0">
                  <a:solidFill>
                    <a:prstClr val="white"/>
                  </a:solidFill>
                  <a:latin typeface="Arial" panose="020B0604020202020204" pitchFamily="34" charset="0"/>
                  <a:ea typeface="微软雅黑" pitchFamily="34" charset="-122"/>
                </a:rPr>
                <a:t>AOD</a:t>
              </a:r>
              <a:endParaRPr lang="en-US" altLang="zh-CN" sz="900" b="1" dirty="0">
                <a:solidFill>
                  <a:prstClr val="white"/>
                </a:solidFill>
                <a:latin typeface="Arial" panose="020B0604020202020204" pitchFamily="34" charset="0"/>
                <a:ea typeface="微软雅黑" pitchFamily="34" charset="-122"/>
              </a:endParaRPr>
            </a:p>
          </p:txBody>
        </p:sp>
        <p:sp>
          <p:nvSpPr>
            <p:cNvPr id="42" name="矩形 41"/>
            <p:cNvSpPr/>
            <p:nvPr/>
          </p:nvSpPr>
          <p:spPr>
            <a:xfrm>
              <a:off x="3470528" y="5175285"/>
              <a:ext cx="813074" cy="320692"/>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en-US" altLang="zh-CN" sz="900" b="1" dirty="0" smtClean="0">
                  <a:solidFill>
                    <a:prstClr val="white"/>
                  </a:solidFill>
                  <a:latin typeface="Arial" panose="020B0604020202020204" pitchFamily="34" charset="0"/>
                  <a:ea typeface="微软雅黑" pitchFamily="34" charset="-122"/>
                </a:rPr>
                <a:t>AOD</a:t>
              </a:r>
              <a:endParaRPr lang="en-US" altLang="zh-CN" sz="900" b="1" dirty="0">
                <a:solidFill>
                  <a:prstClr val="white"/>
                </a:solidFill>
                <a:latin typeface="Arial" panose="020B0604020202020204" pitchFamily="34" charset="0"/>
                <a:ea typeface="微软雅黑" pitchFamily="34" charset="-122"/>
              </a:endParaRPr>
            </a:p>
          </p:txBody>
        </p:sp>
        <p:sp>
          <p:nvSpPr>
            <p:cNvPr id="46" name="下箭头 45"/>
            <p:cNvSpPr/>
            <p:nvPr/>
          </p:nvSpPr>
          <p:spPr>
            <a:xfrm rot="10800000">
              <a:off x="2001782" y="5973621"/>
              <a:ext cx="140598" cy="202241"/>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Arial" panose="020B0604020202020204" pitchFamily="34" charset="0"/>
              </a:endParaRPr>
            </a:p>
          </p:txBody>
        </p:sp>
        <p:pic>
          <p:nvPicPr>
            <p:cNvPr id="109" name="Picture 2"/>
            <p:cNvPicPr>
              <a:picLocks noChangeAspect="1" noChangeArrowheads="1"/>
            </p:cNvPicPr>
            <p:nvPr/>
          </p:nvPicPr>
          <p:blipFill>
            <a:blip r:embed="rId5" cstate="email">
              <a:clrChange>
                <a:clrFrom>
                  <a:srgbClr val="FFFFFF"/>
                </a:clrFrom>
                <a:clrTo>
                  <a:srgbClr val="FFFFFF">
                    <a:alpha val="0"/>
                  </a:srgbClr>
                </a:clrTo>
              </a:clrChange>
            </a:blip>
            <a:srcRect/>
            <a:stretch>
              <a:fillRect/>
            </a:stretch>
          </p:blipFill>
          <p:spPr bwMode="auto">
            <a:xfrm>
              <a:off x="2305447" y="6194276"/>
              <a:ext cx="351001" cy="471719"/>
            </a:xfrm>
            <a:prstGeom prst="rect">
              <a:avLst/>
            </a:prstGeom>
            <a:noFill/>
            <a:ln w="9525">
              <a:noFill/>
              <a:miter lim="800000"/>
              <a:headEnd/>
              <a:tailEnd/>
            </a:ln>
            <a:effectLst/>
          </p:spPr>
        </p:pic>
        <p:sp>
          <p:nvSpPr>
            <p:cNvPr id="110" name="TextBox 53"/>
            <p:cNvSpPr txBox="1">
              <a:spLocks noChangeArrowheads="1"/>
            </p:cNvSpPr>
            <p:nvPr/>
          </p:nvSpPr>
          <p:spPr bwMode="auto">
            <a:xfrm>
              <a:off x="1824791" y="6559649"/>
              <a:ext cx="1316177" cy="438582"/>
            </a:xfrm>
            <a:prstGeom prst="rect">
              <a:avLst/>
            </a:prstGeom>
            <a:noFill/>
            <a:ln w="9525">
              <a:noFill/>
              <a:miter lim="800000"/>
              <a:headEnd/>
              <a:tailEnd/>
            </a:ln>
          </p:spPr>
          <p:txBody>
            <a:bodyPr wrap="square">
              <a:spAutoFit/>
            </a:bodyPr>
            <a:lstStyle/>
            <a:p>
              <a:pPr algn="ctr"/>
              <a:r>
                <a:rPr lang="en-US" altLang="zh-CN" sz="1200" b="1" dirty="0" smtClean="0">
                  <a:latin typeface="Arial" panose="020B0604020202020204" pitchFamily="34" charset="0"/>
                  <a:ea typeface="微软雅黑" panose="020B0503020204020204" pitchFamily="34" charset="-122"/>
                </a:rPr>
                <a:t>eLTE-U</a:t>
              </a:r>
            </a:p>
            <a:p>
              <a:pPr algn="ctr"/>
              <a:r>
                <a:rPr lang="en-US" altLang="zh-CN" sz="1000" dirty="0" smtClean="0">
                  <a:latin typeface="Arial" panose="020B0604020202020204" pitchFamily="34" charset="0"/>
                  <a:ea typeface="微软雅黑" panose="020B0503020204020204" pitchFamily="34" charset="-122"/>
                </a:rPr>
                <a:t>5.8 GHz</a:t>
              </a:r>
            </a:p>
          </p:txBody>
        </p:sp>
        <p:pic>
          <p:nvPicPr>
            <p:cNvPr id="111" name="Picture 2"/>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599105" y="7142291"/>
              <a:ext cx="374737" cy="11021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2" name="矩形 111"/>
            <p:cNvSpPr/>
            <p:nvPr/>
          </p:nvSpPr>
          <p:spPr>
            <a:xfrm>
              <a:off x="7715" y="7532518"/>
              <a:ext cx="657395" cy="553998"/>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1000" b="1" dirty="0" smtClean="0">
                  <a:solidFill>
                    <a:srgbClr val="FFC000"/>
                  </a:solidFill>
                  <a:latin typeface="Arial" panose="020B0604020202020204" pitchFamily="34" charset="0"/>
                  <a:ea typeface="微软雅黑"/>
                  <a:cs typeface="微软雅黑"/>
                </a:rPr>
                <a:t>Non-hotspot areas</a:t>
              </a:r>
              <a:endParaRPr kumimoji="1" lang="zh-CN" altLang="en-US" sz="1000" b="1" dirty="0">
                <a:solidFill>
                  <a:srgbClr val="FFC000"/>
                </a:solidFill>
                <a:latin typeface="Arial" panose="020B0604020202020204" pitchFamily="34" charset="0"/>
                <a:ea typeface="微软雅黑"/>
                <a:cs typeface="微软雅黑"/>
              </a:endParaRPr>
            </a:p>
          </p:txBody>
        </p:sp>
        <p:grpSp>
          <p:nvGrpSpPr>
            <p:cNvPr id="4" name="组合 3"/>
            <p:cNvGrpSpPr/>
            <p:nvPr/>
          </p:nvGrpSpPr>
          <p:grpSpPr>
            <a:xfrm>
              <a:off x="727012" y="7407198"/>
              <a:ext cx="716223" cy="635229"/>
              <a:chOff x="-1944564" y="5232915"/>
              <a:chExt cx="2057339" cy="1728766"/>
            </a:xfrm>
          </p:grpSpPr>
          <p:pic>
            <p:nvPicPr>
              <p:cNvPr id="114" name="Picture 3"/>
              <p:cNvPicPr>
                <a:picLocks noChangeAspect="1" noChangeArrowheads="1"/>
              </p:cNvPicPr>
              <p:nvPr/>
            </p:nvPicPr>
            <p:blipFill>
              <a:blip r:embed="rId16" cstate="print">
                <a:lum contrast="-10000"/>
              </a:blip>
              <a:srcRect r="12240"/>
              <a:stretch>
                <a:fillRect/>
              </a:stretch>
            </p:blipFill>
            <p:spPr bwMode="auto">
              <a:xfrm>
                <a:off x="-1689573" y="6385290"/>
                <a:ext cx="1118911" cy="576391"/>
              </a:xfrm>
              <a:prstGeom prst="rect">
                <a:avLst/>
              </a:prstGeom>
              <a:noFill/>
              <a:ln w="9525">
                <a:noFill/>
                <a:miter lim="800000"/>
                <a:headEnd/>
                <a:tailEnd/>
              </a:ln>
            </p:spPr>
          </p:pic>
          <p:pic>
            <p:nvPicPr>
              <p:cNvPr id="115" name="Picture 6"/>
              <p:cNvPicPr>
                <a:picLocks noChangeAspect="1" noChangeArrowheads="1"/>
              </p:cNvPicPr>
              <p:nvPr/>
            </p:nvPicPr>
            <p:blipFill>
              <a:blip r:embed="rId17" cstate="print"/>
              <a:srcRect/>
              <a:stretch>
                <a:fillRect/>
              </a:stretch>
            </p:blipFill>
            <p:spPr bwMode="auto">
              <a:xfrm>
                <a:off x="-1944564" y="5232915"/>
                <a:ext cx="2057339" cy="942947"/>
              </a:xfrm>
              <a:prstGeom prst="rect">
                <a:avLst/>
              </a:prstGeom>
              <a:noFill/>
              <a:ln w="9525">
                <a:noFill/>
                <a:miter lim="800000"/>
                <a:headEnd/>
                <a:tailEnd/>
              </a:ln>
              <a:effectLst/>
            </p:spPr>
          </p:pic>
          <p:cxnSp>
            <p:nvCxnSpPr>
              <p:cNvPr id="116" name="直接箭头连接符 115"/>
              <p:cNvCxnSpPr/>
              <p:nvPr/>
            </p:nvCxnSpPr>
            <p:spPr>
              <a:xfrm rot="5400000" flipH="1" flipV="1">
                <a:off x="-1276546" y="6205512"/>
                <a:ext cx="357190" cy="12141"/>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grpSp>
        <p:sp>
          <p:nvSpPr>
            <p:cNvPr id="117" name="矩形 116"/>
            <p:cNvSpPr/>
            <p:nvPr/>
          </p:nvSpPr>
          <p:spPr>
            <a:xfrm>
              <a:off x="680799" y="8032901"/>
              <a:ext cx="666493"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800" dirty="0" smtClean="0">
                  <a:solidFill>
                    <a:prstClr val="black"/>
                  </a:solidFill>
                  <a:latin typeface="Arial" panose="020B0604020202020204" pitchFamily="34" charset="0"/>
                  <a:ea typeface="微软雅黑"/>
                  <a:cs typeface="微软雅黑"/>
                </a:rPr>
                <a:t>Streetlight controller</a:t>
              </a:r>
            </a:p>
          </p:txBody>
        </p:sp>
        <p:sp>
          <p:nvSpPr>
            <p:cNvPr id="118" name="矩形 117"/>
            <p:cNvSpPr/>
            <p:nvPr/>
          </p:nvSpPr>
          <p:spPr>
            <a:xfrm>
              <a:off x="1296797" y="7532518"/>
              <a:ext cx="767096" cy="40011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1000" b="1" dirty="0" smtClean="0">
                  <a:solidFill>
                    <a:srgbClr val="FFC000"/>
                  </a:solidFill>
                  <a:latin typeface="Arial" panose="020B0604020202020204" pitchFamily="34" charset="0"/>
                  <a:ea typeface="微软雅黑"/>
                  <a:cs typeface="微软雅黑"/>
                </a:rPr>
                <a:t>Hotspot areas</a:t>
              </a:r>
              <a:endParaRPr kumimoji="1" lang="zh-CN" altLang="en-US" sz="1000" b="1" dirty="0">
                <a:solidFill>
                  <a:srgbClr val="FFC000"/>
                </a:solidFill>
                <a:latin typeface="Arial" panose="020B0604020202020204" pitchFamily="34" charset="0"/>
                <a:ea typeface="微软雅黑"/>
                <a:cs typeface="微软雅黑"/>
              </a:endParaRPr>
            </a:p>
          </p:txBody>
        </p:sp>
        <p:pic>
          <p:nvPicPr>
            <p:cNvPr id="119" name="图片 118"/>
            <p:cNvPicPr>
              <a:picLocks noChangeAspect="1"/>
            </p:cNvPicPr>
            <p:nvPr/>
          </p:nvPicPr>
          <p:blipFill rotWithShape="1">
            <a:blip r:embed="rId6" cstate="print">
              <a:extLst>
                <a:ext uri="{BEBA8EAE-BF5A-486C-A8C5-ECC9F3942E4B}">
                  <a14:imgProps xmlns:a14="http://schemas.microsoft.com/office/drawing/2010/main" xmlns="">
                    <a14:imgLayer r:embed="rId7">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a14="http://schemas.microsoft.com/office/drawing/2010/main" xmlns="" val="0"/>
                </a:ext>
              </a:extLst>
            </a:blip>
            <a:srcRect/>
            <a:stretch/>
          </p:blipFill>
          <p:spPr>
            <a:xfrm rot="18765754">
              <a:off x="1117435" y="7041763"/>
              <a:ext cx="254741" cy="287640"/>
            </a:xfrm>
            <a:prstGeom prst="rect">
              <a:avLst/>
            </a:prstGeom>
          </p:spPr>
        </p:pic>
        <p:pic>
          <p:nvPicPr>
            <p:cNvPr id="121" name="Picture 1"/>
            <p:cNvPicPr>
              <a:picLocks noChangeAspect="1" noChangeArrowheads="1"/>
            </p:cNvPicPr>
            <p:nvPr/>
          </p:nvPicPr>
          <p:blipFill>
            <a:blip r:embed="rId18" cstate="print"/>
            <a:srcRect/>
            <a:stretch>
              <a:fillRect/>
            </a:stretch>
          </p:blipFill>
          <p:spPr bwMode="auto">
            <a:xfrm>
              <a:off x="2382760" y="7072679"/>
              <a:ext cx="917279" cy="1310732"/>
            </a:xfrm>
            <a:prstGeom prst="rect">
              <a:avLst/>
            </a:prstGeom>
            <a:noFill/>
            <a:ln w="9525">
              <a:noFill/>
              <a:miter lim="800000"/>
              <a:headEnd/>
              <a:tailEnd/>
            </a:ln>
          </p:spPr>
        </p:pic>
        <p:pic>
          <p:nvPicPr>
            <p:cNvPr id="123" name="Picture 2" descr="image001"/>
            <p:cNvPicPr>
              <a:picLocks noChangeAspect="1" noChangeArrowheads="1"/>
            </p:cNvPicPr>
            <p:nvPr/>
          </p:nvPicPr>
          <p:blipFill>
            <a:blip r:embed="rId19" cstate="screen">
              <a:clrChange>
                <a:clrFrom>
                  <a:srgbClr val="FFFFFF"/>
                </a:clrFrom>
                <a:clrTo>
                  <a:srgbClr val="FFFFFF">
                    <a:alpha val="0"/>
                  </a:srgbClr>
                </a:clrTo>
              </a:clrChange>
            </a:blip>
            <a:stretch>
              <a:fillRect/>
            </a:stretch>
          </p:blipFill>
          <p:spPr bwMode="auto">
            <a:xfrm>
              <a:off x="2559239" y="7166409"/>
              <a:ext cx="178981" cy="85309"/>
            </a:xfrm>
            <a:prstGeom prst="rect">
              <a:avLst/>
            </a:prstGeom>
            <a:ln w="19050" cmpd="sng">
              <a:noFill/>
              <a:prstDash val="sysDash"/>
            </a:ln>
          </p:spPr>
        </p:pic>
        <p:pic>
          <p:nvPicPr>
            <p:cNvPr id="124" name="Picture 61" descr="D:\TDTECH\解决方案拓扑图\miniPCLe.png"/>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2605172" y="7102205"/>
              <a:ext cx="110789" cy="642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5" name="矩形 124"/>
            <p:cNvSpPr/>
            <p:nvPr/>
          </p:nvSpPr>
          <p:spPr>
            <a:xfrm>
              <a:off x="3245401" y="7056604"/>
              <a:ext cx="895613" cy="403957"/>
            </a:xfrm>
            <a:prstGeom prst="rect">
              <a:avLst/>
            </a:prstGeom>
          </p:spPr>
          <p:txBody>
            <a:bodyPr wrap="square" lIns="34292" tIns="17145" rIns="34292" bIns="17145">
              <a:sp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algn="ctr" defTabSz="685651">
                <a:defRPr/>
              </a:pPr>
              <a:r>
                <a:rPr lang="en-US" altLang="zh-CN" sz="600" kern="0" dirty="0" smtClean="0">
                  <a:latin typeface="Arial" panose="020B0604020202020204" pitchFamily="34" charset="0"/>
                  <a:ea typeface="微软雅黑" panose="020B0503020204020204" pitchFamily="34" charset="-122"/>
                  <a:cs typeface="Arial" pitchFamily="34" charset="0"/>
                </a:rPr>
                <a:t>Remote lighting control</a:t>
              </a:r>
            </a:p>
            <a:p>
              <a:pPr algn="ctr" defTabSz="685651">
                <a:defRPr/>
              </a:pPr>
              <a:r>
                <a:rPr lang="en-US" altLang="zh-CN" sz="600" kern="0" dirty="0" smtClean="0">
                  <a:latin typeface="Arial" panose="020B0604020202020204" pitchFamily="34" charset="0"/>
                  <a:ea typeface="微软雅黑" panose="020B0503020204020204" pitchFamily="34" charset="-122"/>
                  <a:cs typeface="Arial" pitchFamily="34" charset="0"/>
                </a:rPr>
                <a:t>Built-in eLTE-IoT module of the street lamp controller</a:t>
              </a:r>
              <a:endParaRPr lang="en-US" altLang="zh-CN" sz="600" kern="0" dirty="0">
                <a:latin typeface="Arial" panose="020B0604020202020204" pitchFamily="34" charset="0"/>
                <a:ea typeface="微软雅黑" panose="020B0503020204020204" pitchFamily="34" charset="-122"/>
                <a:cs typeface="Arial" pitchFamily="34" charset="0"/>
                <a:sym typeface="微软雅黑" pitchFamily="34" charset="-122"/>
              </a:endParaRPr>
            </a:p>
          </p:txBody>
        </p:sp>
        <p:sp>
          <p:nvSpPr>
            <p:cNvPr id="126" name="矩形 125"/>
            <p:cNvSpPr/>
            <p:nvPr/>
          </p:nvSpPr>
          <p:spPr>
            <a:xfrm>
              <a:off x="1896519" y="7061909"/>
              <a:ext cx="632002" cy="588623"/>
            </a:xfrm>
            <a:prstGeom prst="rect">
              <a:avLst/>
            </a:prstGeom>
          </p:spPr>
          <p:txBody>
            <a:bodyPr wrap="square" lIns="34292" tIns="17145" rIns="34292" bIns="17145">
              <a:sp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algn="ctr" defTabSz="685651">
                <a:defRPr/>
              </a:pPr>
              <a:r>
                <a:rPr lang="en-US" altLang="zh-CN" sz="600" kern="0" dirty="0" smtClean="0">
                  <a:latin typeface="Arial" panose="020B0604020202020204" pitchFamily="34" charset="0"/>
                  <a:ea typeface="微软雅黑" panose="020B0503020204020204" pitchFamily="34" charset="-122"/>
                  <a:cs typeface="Arial" pitchFamily="34" charset="0"/>
                </a:rPr>
                <a:t>Video surveillance</a:t>
              </a:r>
            </a:p>
            <a:p>
              <a:pPr algn="ctr" defTabSz="685651">
                <a:defRPr/>
              </a:pPr>
              <a:r>
                <a:rPr lang="en-US" altLang="zh-CN" sz="600" kern="0" dirty="0" smtClean="0">
                  <a:latin typeface="Arial" panose="020B0604020202020204" pitchFamily="34" charset="0"/>
                  <a:ea typeface="微软雅黑" panose="020B0503020204020204" pitchFamily="34" charset="-122"/>
                  <a:cs typeface="Arial" pitchFamily="34" charset="0"/>
                </a:rPr>
                <a:t>Built-in eLTE-U communication module of the camera</a:t>
              </a:r>
              <a:endParaRPr lang="en-US" altLang="zh-CN" sz="600" kern="0" dirty="0">
                <a:latin typeface="Arial" panose="020B0604020202020204" pitchFamily="34" charset="0"/>
                <a:ea typeface="微软雅黑" panose="020B0503020204020204" pitchFamily="34" charset="-122"/>
                <a:cs typeface="Arial" pitchFamily="34" charset="0"/>
                <a:sym typeface="微软雅黑" pitchFamily="34" charset="-122"/>
              </a:endParaRPr>
            </a:p>
          </p:txBody>
        </p:sp>
        <p:sp>
          <p:nvSpPr>
            <p:cNvPr id="127" name="Freeform 16"/>
            <p:cNvSpPr>
              <a:spLocks noEditPoints="1"/>
            </p:cNvSpPr>
            <p:nvPr/>
          </p:nvSpPr>
          <p:spPr bwMode="auto">
            <a:xfrm rot="18900000" flipV="1">
              <a:off x="2766762" y="7454320"/>
              <a:ext cx="164194" cy="103583"/>
            </a:xfrm>
            <a:custGeom>
              <a:avLst/>
              <a:gdLst/>
              <a:ahLst/>
              <a:cxnLst>
                <a:cxn ang="0">
                  <a:pos x="16025" y="3351"/>
                </a:cxn>
                <a:cxn ang="0">
                  <a:pos x="14975" y="4351"/>
                </a:cxn>
                <a:cxn ang="0">
                  <a:pos x="14184" y="3632"/>
                </a:cxn>
                <a:cxn ang="0">
                  <a:pos x="12564" y="2563"/>
                </a:cxn>
                <a:cxn ang="0">
                  <a:pos x="10805" y="1850"/>
                </a:cxn>
                <a:cxn ang="0">
                  <a:pos x="8960" y="1494"/>
                </a:cxn>
                <a:cxn ang="0">
                  <a:pos x="7087" y="1494"/>
                </a:cxn>
                <a:cxn ang="0">
                  <a:pos x="5243" y="1851"/>
                </a:cxn>
                <a:cxn ang="0">
                  <a:pos x="3483" y="2564"/>
                </a:cxn>
                <a:cxn ang="0">
                  <a:pos x="1864" y="3634"/>
                </a:cxn>
                <a:cxn ang="0">
                  <a:pos x="1075" y="4353"/>
                </a:cxn>
                <a:cxn ang="0">
                  <a:pos x="24" y="3353"/>
                </a:cxn>
                <a:cxn ang="0">
                  <a:pos x="516" y="2880"/>
                </a:cxn>
                <a:cxn ang="0">
                  <a:pos x="2325" y="1549"/>
                </a:cxn>
                <a:cxn ang="0">
                  <a:pos x="4312" y="627"/>
                </a:cxn>
                <a:cxn ang="0">
                  <a:pos x="6413" y="115"/>
                </a:cxn>
                <a:cxn ang="0">
                  <a:pos x="8562" y="13"/>
                </a:cxn>
                <a:cxn ang="0">
                  <a:pos x="10694" y="319"/>
                </a:cxn>
                <a:cxn ang="0">
                  <a:pos x="12747" y="1036"/>
                </a:cxn>
                <a:cxn ang="0">
                  <a:pos x="14654" y="2160"/>
                </a:cxn>
                <a:cxn ang="0">
                  <a:pos x="14055" y="5373"/>
                </a:cxn>
                <a:cxn ang="0">
                  <a:pos x="12871" y="6404"/>
                </a:cxn>
                <a:cxn ang="0">
                  <a:pos x="12058" y="5702"/>
                </a:cxn>
                <a:cxn ang="0">
                  <a:pos x="10898" y="5017"/>
                </a:cxn>
                <a:cxn ang="0">
                  <a:pos x="9649" y="4582"/>
                </a:cxn>
                <a:cxn ang="0">
                  <a:pos x="8352" y="4395"/>
                </a:cxn>
                <a:cxn ang="0">
                  <a:pos x="7044" y="4457"/>
                </a:cxn>
                <a:cxn ang="0">
                  <a:pos x="5767" y="4769"/>
                </a:cxn>
                <a:cxn ang="0">
                  <a:pos x="4558" y="5329"/>
                </a:cxn>
                <a:cxn ang="0">
                  <a:pos x="3457" y="6139"/>
                </a:cxn>
                <a:cxn ang="0">
                  <a:pos x="3129" y="6456"/>
                </a:cxn>
                <a:cxn ang="0">
                  <a:pos x="2045" y="5322"/>
                </a:cxn>
                <a:cxn ang="0">
                  <a:pos x="2731" y="4697"/>
                </a:cxn>
                <a:cxn ang="0">
                  <a:pos x="4122" y="3779"/>
                </a:cxn>
                <a:cxn ang="0">
                  <a:pos x="5635" y="3166"/>
                </a:cxn>
                <a:cxn ang="0">
                  <a:pos x="7219" y="2859"/>
                </a:cxn>
                <a:cxn ang="0">
                  <a:pos x="8829" y="2859"/>
                </a:cxn>
                <a:cxn ang="0">
                  <a:pos x="10413" y="3165"/>
                </a:cxn>
                <a:cxn ang="0">
                  <a:pos x="11926" y="3777"/>
                </a:cxn>
                <a:cxn ang="0">
                  <a:pos x="13318" y="4696"/>
                </a:cxn>
                <a:cxn ang="0">
                  <a:pos x="14005" y="5321"/>
                </a:cxn>
                <a:cxn ang="0">
                  <a:pos x="10854" y="8576"/>
                </a:cxn>
                <a:cxn ang="0">
                  <a:pos x="10754" y="8472"/>
                </a:cxn>
                <a:cxn ang="0">
                  <a:pos x="10150" y="7980"/>
                </a:cxn>
                <a:cxn ang="0">
                  <a:pos x="9479" y="7627"/>
                </a:cxn>
                <a:cxn ang="0">
                  <a:pos x="8762" y="7416"/>
                </a:cxn>
                <a:cxn ang="0">
                  <a:pos x="8025" y="7345"/>
                </a:cxn>
                <a:cxn ang="0">
                  <a:pos x="7287" y="7416"/>
                </a:cxn>
                <a:cxn ang="0">
                  <a:pos x="6571" y="7627"/>
                </a:cxn>
                <a:cxn ang="0">
                  <a:pos x="5900" y="7980"/>
                </a:cxn>
                <a:cxn ang="0">
                  <a:pos x="5297" y="8473"/>
                </a:cxn>
                <a:cxn ang="0">
                  <a:pos x="5198" y="8576"/>
                </a:cxn>
                <a:cxn ang="0">
                  <a:pos x="4197" y="7425"/>
                </a:cxn>
                <a:cxn ang="0">
                  <a:pos x="4843" y="6865"/>
                </a:cxn>
                <a:cxn ang="0">
                  <a:pos x="5758" y="6325"/>
                </a:cxn>
                <a:cxn ang="0">
                  <a:pos x="6743" y="5981"/>
                </a:cxn>
                <a:cxn ang="0">
                  <a:pos x="7766" y="5833"/>
                </a:cxn>
                <a:cxn ang="0">
                  <a:pos x="8797" y="5882"/>
                </a:cxn>
                <a:cxn ang="0">
                  <a:pos x="9806" y="6127"/>
                </a:cxn>
                <a:cxn ang="0">
                  <a:pos x="10760" y="6570"/>
                </a:cxn>
                <a:cxn ang="0">
                  <a:pos x="11627" y="7208"/>
                </a:cxn>
                <a:cxn ang="0">
                  <a:pos x="11903" y="7475"/>
                </a:cxn>
              </a:cxnLst>
              <a:rect l="0" t="0" r="r" b="b"/>
              <a:pathLst>
                <a:path w="16050" h="8576">
                  <a:moveTo>
                    <a:pt x="15950" y="3273"/>
                  </a:moveTo>
                  <a:lnTo>
                    <a:pt x="15975" y="3299"/>
                  </a:lnTo>
                  <a:lnTo>
                    <a:pt x="16000" y="3324"/>
                  </a:lnTo>
                  <a:lnTo>
                    <a:pt x="16025" y="3351"/>
                  </a:lnTo>
                  <a:lnTo>
                    <a:pt x="16050" y="3377"/>
                  </a:lnTo>
                  <a:lnTo>
                    <a:pt x="15025" y="4402"/>
                  </a:lnTo>
                  <a:lnTo>
                    <a:pt x="15000" y="4377"/>
                  </a:lnTo>
                  <a:lnTo>
                    <a:pt x="14975" y="4351"/>
                  </a:lnTo>
                  <a:lnTo>
                    <a:pt x="14950" y="4325"/>
                  </a:lnTo>
                  <a:lnTo>
                    <a:pt x="14923" y="4300"/>
                  </a:lnTo>
                  <a:lnTo>
                    <a:pt x="14560" y="3955"/>
                  </a:lnTo>
                  <a:lnTo>
                    <a:pt x="14184" y="3632"/>
                  </a:lnTo>
                  <a:lnTo>
                    <a:pt x="13796" y="3330"/>
                  </a:lnTo>
                  <a:lnTo>
                    <a:pt x="13396" y="3053"/>
                  </a:lnTo>
                  <a:lnTo>
                    <a:pt x="12984" y="2797"/>
                  </a:lnTo>
                  <a:lnTo>
                    <a:pt x="12564" y="2563"/>
                  </a:lnTo>
                  <a:lnTo>
                    <a:pt x="12136" y="2351"/>
                  </a:lnTo>
                  <a:lnTo>
                    <a:pt x="11698" y="2161"/>
                  </a:lnTo>
                  <a:lnTo>
                    <a:pt x="11254" y="1995"/>
                  </a:lnTo>
                  <a:lnTo>
                    <a:pt x="10805" y="1850"/>
                  </a:lnTo>
                  <a:lnTo>
                    <a:pt x="10349" y="1728"/>
                  </a:lnTo>
                  <a:lnTo>
                    <a:pt x="9889" y="1628"/>
                  </a:lnTo>
                  <a:lnTo>
                    <a:pt x="9426" y="1549"/>
                  </a:lnTo>
                  <a:lnTo>
                    <a:pt x="8960" y="1494"/>
                  </a:lnTo>
                  <a:lnTo>
                    <a:pt x="8492" y="1461"/>
                  </a:lnTo>
                  <a:lnTo>
                    <a:pt x="8024" y="1450"/>
                  </a:lnTo>
                  <a:lnTo>
                    <a:pt x="7556" y="1461"/>
                  </a:lnTo>
                  <a:lnTo>
                    <a:pt x="7087" y="1494"/>
                  </a:lnTo>
                  <a:lnTo>
                    <a:pt x="6622" y="1550"/>
                  </a:lnTo>
                  <a:lnTo>
                    <a:pt x="6158" y="1629"/>
                  </a:lnTo>
                  <a:lnTo>
                    <a:pt x="5699" y="1729"/>
                  </a:lnTo>
                  <a:lnTo>
                    <a:pt x="5243" y="1851"/>
                  </a:lnTo>
                  <a:lnTo>
                    <a:pt x="4793" y="1996"/>
                  </a:lnTo>
                  <a:lnTo>
                    <a:pt x="4350" y="2163"/>
                  </a:lnTo>
                  <a:lnTo>
                    <a:pt x="3912" y="2352"/>
                  </a:lnTo>
                  <a:lnTo>
                    <a:pt x="3483" y="2564"/>
                  </a:lnTo>
                  <a:lnTo>
                    <a:pt x="3064" y="2799"/>
                  </a:lnTo>
                  <a:lnTo>
                    <a:pt x="2652" y="3055"/>
                  </a:lnTo>
                  <a:lnTo>
                    <a:pt x="2253" y="3332"/>
                  </a:lnTo>
                  <a:lnTo>
                    <a:pt x="1864" y="3634"/>
                  </a:lnTo>
                  <a:lnTo>
                    <a:pt x="1488" y="3957"/>
                  </a:lnTo>
                  <a:lnTo>
                    <a:pt x="1125" y="4302"/>
                  </a:lnTo>
                  <a:lnTo>
                    <a:pt x="1099" y="4327"/>
                  </a:lnTo>
                  <a:lnTo>
                    <a:pt x="1075" y="4353"/>
                  </a:lnTo>
                  <a:lnTo>
                    <a:pt x="1050" y="4378"/>
                  </a:lnTo>
                  <a:lnTo>
                    <a:pt x="1025" y="4404"/>
                  </a:lnTo>
                  <a:lnTo>
                    <a:pt x="0" y="3378"/>
                  </a:lnTo>
                  <a:lnTo>
                    <a:pt x="24" y="3353"/>
                  </a:lnTo>
                  <a:lnTo>
                    <a:pt x="49" y="3326"/>
                  </a:lnTo>
                  <a:lnTo>
                    <a:pt x="74" y="3301"/>
                  </a:lnTo>
                  <a:lnTo>
                    <a:pt x="99" y="3276"/>
                  </a:lnTo>
                  <a:lnTo>
                    <a:pt x="516" y="2880"/>
                  </a:lnTo>
                  <a:lnTo>
                    <a:pt x="948" y="2509"/>
                  </a:lnTo>
                  <a:lnTo>
                    <a:pt x="1394" y="2162"/>
                  </a:lnTo>
                  <a:lnTo>
                    <a:pt x="1854" y="1843"/>
                  </a:lnTo>
                  <a:lnTo>
                    <a:pt x="2325" y="1549"/>
                  </a:lnTo>
                  <a:lnTo>
                    <a:pt x="2808" y="1280"/>
                  </a:lnTo>
                  <a:lnTo>
                    <a:pt x="3301" y="1037"/>
                  </a:lnTo>
                  <a:lnTo>
                    <a:pt x="3803" y="820"/>
                  </a:lnTo>
                  <a:lnTo>
                    <a:pt x="4312" y="627"/>
                  </a:lnTo>
                  <a:lnTo>
                    <a:pt x="4830" y="461"/>
                  </a:lnTo>
                  <a:lnTo>
                    <a:pt x="5353" y="320"/>
                  </a:lnTo>
                  <a:lnTo>
                    <a:pt x="5881" y="205"/>
                  </a:lnTo>
                  <a:lnTo>
                    <a:pt x="6413" y="115"/>
                  </a:lnTo>
                  <a:lnTo>
                    <a:pt x="6949" y="51"/>
                  </a:lnTo>
                  <a:lnTo>
                    <a:pt x="7485" y="13"/>
                  </a:lnTo>
                  <a:lnTo>
                    <a:pt x="8024" y="0"/>
                  </a:lnTo>
                  <a:lnTo>
                    <a:pt x="8562" y="13"/>
                  </a:lnTo>
                  <a:lnTo>
                    <a:pt x="9099" y="51"/>
                  </a:lnTo>
                  <a:lnTo>
                    <a:pt x="9634" y="115"/>
                  </a:lnTo>
                  <a:lnTo>
                    <a:pt x="10167" y="205"/>
                  </a:lnTo>
                  <a:lnTo>
                    <a:pt x="10694" y="319"/>
                  </a:lnTo>
                  <a:lnTo>
                    <a:pt x="11218" y="460"/>
                  </a:lnTo>
                  <a:lnTo>
                    <a:pt x="11735" y="626"/>
                  </a:lnTo>
                  <a:lnTo>
                    <a:pt x="12245" y="818"/>
                  </a:lnTo>
                  <a:lnTo>
                    <a:pt x="12747" y="1036"/>
                  </a:lnTo>
                  <a:lnTo>
                    <a:pt x="13239" y="1278"/>
                  </a:lnTo>
                  <a:lnTo>
                    <a:pt x="13722" y="1547"/>
                  </a:lnTo>
                  <a:lnTo>
                    <a:pt x="14194" y="1841"/>
                  </a:lnTo>
                  <a:lnTo>
                    <a:pt x="14654" y="2160"/>
                  </a:lnTo>
                  <a:lnTo>
                    <a:pt x="15100" y="2506"/>
                  </a:lnTo>
                  <a:lnTo>
                    <a:pt x="15532" y="2877"/>
                  </a:lnTo>
                  <a:lnTo>
                    <a:pt x="15950" y="3273"/>
                  </a:lnTo>
                  <a:close/>
                  <a:moveTo>
                    <a:pt x="14055" y="5373"/>
                  </a:moveTo>
                  <a:lnTo>
                    <a:pt x="12946" y="6481"/>
                  </a:lnTo>
                  <a:lnTo>
                    <a:pt x="12921" y="6456"/>
                  </a:lnTo>
                  <a:lnTo>
                    <a:pt x="12897" y="6430"/>
                  </a:lnTo>
                  <a:lnTo>
                    <a:pt x="12871" y="6404"/>
                  </a:lnTo>
                  <a:lnTo>
                    <a:pt x="12846" y="6379"/>
                  </a:lnTo>
                  <a:lnTo>
                    <a:pt x="12592" y="6137"/>
                  </a:lnTo>
                  <a:lnTo>
                    <a:pt x="12329" y="5912"/>
                  </a:lnTo>
                  <a:lnTo>
                    <a:pt x="12058" y="5702"/>
                  </a:lnTo>
                  <a:lnTo>
                    <a:pt x="11778" y="5507"/>
                  </a:lnTo>
                  <a:lnTo>
                    <a:pt x="11491" y="5328"/>
                  </a:lnTo>
                  <a:lnTo>
                    <a:pt x="11198" y="5165"/>
                  </a:lnTo>
                  <a:lnTo>
                    <a:pt x="10898" y="5017"/>
                  </a:lnTo>
                  <a:lnTo>
                    <a:pt x="10592" y="4885"/>
                  </a:lnTo>
                  <a:lnTo>
                    <a:pt x="10282" y="4768"/>
                  </a:lnTo>
                  <a:lnTo>
                    <a:pt x="9967" y="4667"/>
                  </a:lnTo>
                  <a:lnTo>
                    <a:pt x="9649" y="4582"/>
                  </a:lnTo>
                  <a:lnTo>
                    <a:pt x="9328" y="4512"/>
                  </a:lnTo>
                  <a:lnTo>
                    <a:pt x="9004" y="4457"/>
                  </a:lnTo>
                  <a:lnTo>
                    <a:pt x="8679" y="4418"/>
                  </a:lnTo>
                  <a:lnTo>
                    <a:pt x="8352" y="4395"/>
                  </a:lnTo>
                  <a:lnTo>
                    <a:pt x="8024" y="4387"/>
                  </a:lnTo>
                  <a:lnTo>
                    <a:pt x="7697" y="4395"/>
                  </a:lnTo>
                  <a:lnTo>
                    <a:pt x="7370" y="4418"/>
                  </a:lnTo>
                  <a:lnTo>
                    <a:pt x="7044" y="4457"/>
                  </a:lnTo>
                  <a:lnTo>
                    <a:pt x="6721" y="4512"/>
                  </a:lnTo>
                  <a:lnTo>
                    <a:pt x="6399" y="4582"/>
                  </a:lnTo>
                  <a:lnTo>
                    <a:pt x="6081" y="4668"/>
                  </a:lnTo>
                  <a:lnTo>
                    <a:pt x="5767" y="4769"/>
                  </a:lnTo>
                  <a:lnTo>
                    <a:pt x="5457" y="4886"/>
                  </a:lnTo>
                  <a:lnTo>
                    <a:pt x="5151" y="5018"/>
                  </a:lnTo>
                  <a:lnTo>
                    <a:pt x="4851" y="5166"/>
                  </a:lnTo>
                  <a:lnTo>
                    <a:pt x="4558" y="5329"/>
                  </a:lnTo>
                  <a:lnTo>
                    <a:pt x="4271" y="5509"/>
                  </a:lnTo>
                  <a:lnTo>
                    <a:pt x="3991" y="5703"/>
                  </a:lnTo>
                  <a:lnTo>
                    <a:pt x="3720" y="5913"/>
                  </a:lnTo>
                  <a:lnTo>
                    <a:pt x="3457" y="6139"/>
                  </a:lnTo>
                  <a:lnTo>
                    <a:pt x="3203" y="6380"/>
                  </a:lnTo>
                  <a:lnTo>
                    <a:pt x="3178" y="6406"/>
                  </a:lnTo>
                  <a:lnTo>
                    <a:pt x="3154" y="6431"/>
                  </a:lnTo>
                  <a:lnTo>
                    <a:pt x="3129" y="6456"/>
                  </a:lnTo>
                  <a:lnTo>
                    <a:pt x="3104" y="6482"/>
                  </a:lnTo>
                  <a:lnTo>
                    <a:pt x="1996" y="5374"/>
                  </a:lnTo>
                  <a:lnTo>
                    <a:pt x="2020" y="5348"/>
                  </a:lnTo>
                  <a:lnTo>
                    <a:pt x="2045" y="5322"/>
                  </a:lnTo>
                  <a:lnTo>
                    <a:pt x="2069" y="5297"/>
                  </a:lnTo>
                  <a:lnTo>
                    <a:pt x="2095" y="5272"/>
                  </a:lnTo>
                  <a:lnTo>
                    <a:pt x="2406" y="4975"/>
                  </a:lnTo>
                  <a:lnTo>
                    <a:pt x="2731" y="4697"/>
                  </a:lnTo>
                  <a:lnTo>
                    <a:pt x="3065" y="4439"/>
                  </a:lnTo>
                  <a:lnTo>
                    <a:pt x="3408" y="4199"/>
                  </a:lnTo>
                  <a:lnTo>
                    <a:pt x="3761" y="3980"/>
                  </a:lnTo>
                  <a:lnTo>
                    <a:pt x="4122" y="3779"/>
                  </a:lnTo>
                  <a:lnTo>
                    <a:pt x="4491" y="3596"/>
                  </a:lnTo>
                  <a:lnTo>
                    <a:pt x="4866" y="3434"/>
                  </a:lnTo>
                  <a:lnTo>
                    <a:pt x="5247" y="3290"/>
                  </a:lnTo>
                  <a:lnTo>
                    <a:pt x="5635" y="3166"/>
                  </a:lnTo>
                  <a:lnTo>
                    <a:pt x="6026" y="3061"/>
                  </a:lnTo>
                  <a:lnTo>
                    <a:pt x="6421" y="2974"/>
                  </a:lnTo>
                  <a:lnTo>
                    <a:pt x="6819" y="2907"/>
                  </a:lnTo>
                  <a:lnTo>
                    <a:pt x="7219" y="2859"/>
                  </a:lnTo>
                  <a:lnTo>
                    <a:pt x="7622" y="2831"/>
                  </a:lnTo>
                  <a:lnTo>
                    <a:pt x="8024" y="2821"/>
                  </a:lnTo>
                  <a:lnTo>
                    <a:pt x="8427" y="2831"/>
                  </a:lnTo>
                  <a:lnTo>
                    <a:pt x="8829" y="2859"/>
                  </a:lnTo>
                  <a:lnTo>
                    <a:pt x="9229" y="2907"/>
                  </a:lnTo>
                  <a:lnTo>
                    <a:pt x="9627" y="2973"/>
                  </a:lnTo>
                  <a:lnTo>
                    <a:pt x="10022" y="3060"/>
                  </a:lnTo>
                  <a:lnTo>
                    <a:pt x="10413" y="3165"/>
                  </a:lnTo>
                  <a:lnTo>
                    <a:pt x="10801" y="3289"/>
                  </a:lnTo>
                  <a:lnTo>
                    <a:pt x="11182" y="3433"/>
                  </a:lnTo>
                  <a:lnTo>
                    <a:pt x="11558" y="3595"/>
                  </a:lnTo>
                  <a:lnTo>
                    <a:pt x="11926" y="3777"/>
                  </a:lnTo>
                  <a:lnTo>
                    <a:pt x="12287" y="3978"/>
                  </a:lnTo>
                  <a:lnTo>
                    <a:pt x="12640" y="4198"/>
                  </a:lnTo>
                  <a:lnTo>
                    <a:pt x="12984" y="4437"/>
                  </a:lnTo>
                  <a:lnTo>
                    <a:pt x="13318" y="4696"/>
                  </a:lnTo>
                  <a:lnTo>
                    <a:pt x="13641" y="4973"/>
                  </a:lnTo>
                  <a:lnTo>
                    <a:pt x="13954" y="5270"/>
                  </a:lnTo>
                  <a:lnTo>
                    <a:pt x="13980" y="5295"/>
                  </a:lnTo>
                  <a:lnTo>
                    <a:pt x="14005" y="5321"/>
                  </a:lnTo>
                  <a:lnTo>
                    <a:pt x="14030" y="5347"/>
                  </a:lnTo>
                  <a:lnTo>
                    <a:pt x="14055" y="5373"/>
                  </a:lnTo>
                  <a:close/>
                  <a:moveTo>
                    <a:pt x="11928" y="7501"/>
                  </a:moveTo>
                  <a:lnTo>
                    <a:pt x="10854" y="8576"/>
                  </a:lnTo>
                  <a:lnTo>
                    <a:pt x="10829" y="8549"/>
                  </a:lnTo>
                  <a:lnTo>
                    <a:pt x="10805" y="8523"/>
                  </a:lnTo>
                  <a:lnTo>
                    <a:pt x="10780" y="8498"/>
                  </a:lnTo>
                  <a:lnTo>
                    <a:pt x="10754" y="8472"/>
                  </a:lnTo>
                  <a:lnTo>
                    <a:pt x="10610" y="8336"/>
                  </a:lnTo>
                  <a:lnTo>
                    <a:pt x="10462" y="8208"/>
                  </a:lnTo>
                  <a:lnTo>
                    <a:pt x="10307" y="8089"/>
                  </a:lnTo>
                  <a:lnTo>
                    <a:pt x="10150" y="7980"/>
                  </a:lnTo>
                  <a:lnTo>
                    <a:pt x="9987" y="7878"/>
                  </a:lnTo>
                  <a:lnTo>
                    <a:pt x="9821" y="7785"/>
                  </a:lnTo>
                  <a:lnTo>
                    <a:pt x="9651" y="7702"/>
                  </a:lnTo>
                  <a:lnTo>
                    <a:pt x="9479" y="7627"/>
                  </a:lnTo>
                  <a:lnTo>
                    <a:pt x="9303" y="7561"/>
                  </a:lnTo>
                  <a:lnTo>
                    <a:pt x="9124" y="7504"/>
                  </a:lnTo>
                  <a:lnTo>
                    <a:pt x="8945" y="7456"/>
                  </a:lnTo>
                  <a:lnTo>
                    <a:pt x="8762" y="7416"/>
                  </a:lnTo>
                  <a:lnTo>
                    <a:pt x="8580" y="7384"/>
                  </a:lnTo>
                  <a:lnTo>
                    <a:pt x="8395" y="7362"/>
                  </a:lnTo>
                  <a:lnTo>
                    <a:pt x="8210" y="7349"/>
                  </a:lnTo>
                  <a:lnTo>
                    <a:pt x="8025" y="7345"/>
                  </a:lnTo>
                  <a:lnTo>
                    <a:pt x="7839" y="7349"/>
                  </a:lnTo>
                  <a:lnTo>
                    <a:pt x="7655" y="7363"/>
                  </a:lnTo>
                  <a:lnTo>
                    <a:pt x="7470" y="7385"/>
                  </a:lnTo>
                  <a:lnTo>
                    <a:pt x="7287" y="7416"/>
                  </a:lnTo>
                  <a:lnTo>
                    <a:pt x="7105" y="7456"/>
                  </a:lnTo>
                  <a:lnTo>
                    <a:pt x="6926" y="7504"/>
                  </a:lnTo>
                  <a:lnTo>
                    <a:pt x="6747" y="7561"/>
                  </a:lnTo>
                  <a:lnTo>
                    <a:pt x="6571" y="7627"/>
                  </a:lnTo>
                  <a:lnTo>
                    <a:pt x="6399" y="7703"/>
                  </a:lnTo>
                  <a:lnTo>
                    <a:pt x="6229" y="7786"/>
                  </a:lnTo>
                  <a:lnTo>
                    <a:pt x="6063" y="7878"/>
                  </a:lnTo>
                  <a:lnTo>
                    <a:pt x="5900" y="7980"/>
                  </a:lnTo>
                  <a:lnTo>
                    <a:pt x="5742" y="8090"/>
                  </a:lnTo>
                  <a:lnTo>
                    <a:pt x="5588" y="8209"/>
                  </a:lnTo>
                  <a:lnTo>
                    <a:pt x="5440" y="8337"/>
                  </a:lnTo>
                  <a:lnTo>
                    <a:pt x="5297" y="8473"/>
                  </a:lnTo>
                  <a:lnTo>
                    <a:pt x="5271" y="8498"/>
                  </a:lnTo>
                  <a:lnTo>
                    <a:pt x="5246" y="8524"/>
                  </a:lnTo>
                  <a:lnTo>
                    <a:pt x="5222" y="8550"/>
                  </a:lnTo>
                  <a:lnTo>
                    <a:pt x="5198" y="8576"/>
                  </a:lnTo>
                  <a:lnTo>
                    <a:pt x="4123" y="7501"/>
                  </a:lnTo>
                  <a:lnTo>
                    <a:pt x="4147" y="7476"/>
                  </a:lnTo>
                  <a:lnTo>
                    <a:pt x="4172" y="7450"/>
                  </a:lnTo>
                  <a:lnTo>
                    <a:pt x="4197" y="7425"/>
                  </a:lnTo>
                  <a:lnTo>
                    <a:pt x="4222" y="7399"/>
                  </a:lnTo>
                  <a:lnTo>
                    <a:pt x="4422" y="7209"/>
                  </a:lnTo>
                  <a:lnTo>
                    <a:pt x="4629" y="7030"/>
                  </a:lnTo>
                  <a:lnTo>
                    <a:pt x="4843" y="6865"/>
                  </a:lnTo>
                  <a:lnTo>
                    <a:pt x="5064" y="6711"/>
                  </a:lnTo>
                  <a:lnTo>
                    <a:pt x="5290" y="6571"/>
                  </a:lnTo>
                  <a:lnTo>
                    <a:pt x="5522" y="6441"/>
                  </a:lnTo>
                  <a:lnTo>
                    <a:pt x="5758" y="6325"/>
                  </a:lnTo>
                  <a:lnTo>
                    <a:pt x="6000" y="6220"/>
                  </a:lnTo>
                  <a:lnTo>
                    <a:pt x="6243" y="6128"/>
                  </a:lnTo>
                  <a:lnTo>
                    <a:pt x="6492" y="6048"/>
                  </a:lnTo>
                  <a:lnTo>
                    <a:pt x="6743" y="5981"/>
                  </a:lnTo>
                  <a:lnTo>
                    <a:pt x="6997" y="5925"/>
                  </a:lnTo>
                  <a:lnTo>
                    <a:pt x="7252" y="5882"/>
                  </a:lnTo>
                  <a:lnTo>
                    <a:pt x="7508" y="5851"/>
                  </a:lnTo>
                  <a:lnTo>
                    <a:pt x="7766" y="5833"/>
                  </a:lnTo>
                  <a:lnTo>
                    <a:pt x="8025" y="5827"/>
                  </a:lnTo>
                  <a:lnTo>
                    <a:pt x="8283" y="5833"/>
                  </a:lnTo>
                  <a:lnTo>
                    <a:pt x="8541" y="5851"/>
                  </a:lnTo>
                  <a:lnTo>
                    <a:pt x="8797" y="5882"/>
                  </a:lnTo>
                  <a:lnTo>
                    <a:pt x="9053" y="5925"/>
                  </a:lnTo>
                  <a:lnTo>
                    <a:pt x="9306" y="5981"/>
                  </a:lnTo>
                  <a:lnTo>
                    <a:pt x="9557" y="6048"/>
                  </a:lnTo>
                  <a:lnTo>
                    <a:pt x="9806" y="6127"/>
                  </a:lnTo>
                  <a:lnTo>
                    <a:pt x="10050" y="6219"/>
                  </a:lnTo>
                  <a:lnTo>
                    <a:pt x="10291" y="6324"/>
                  </a:lnTo>
                  <a:lnTo>
                    <a:pt x="10528" y="6440"/>
                  </a:lnTo>
                  <a:lnTo>
                    <a:pt x="10760" y="6570"/>
                  </a:lnTo>
                  <a:lnTo>
                    <a:pt x="10985" y="6710"/>
                  </a:lnTo>
                  <a:lnTo>
                    <a:pt x="11206" y="6864"/>
                  </a:lnTo>
                  <a:lnTo>
                    <a:pt x="11421" y="7029"/>
                  </a:lnTo>
                  <a:lnTo>
                    <a:pt x="11627" y="7208"/>
                  </a:lnTo>
                  <a:lnTo>
                    <a:pt x="11828" y="7398"/>
                  </a:lnTo>
                  <a:lnTo>
                    <a:pt x="11853" y="7424"/>
                  </a:lnTo>
                  <a:lnTo>
                    <a:pt x="11878" y="7449"/>
                  </a:lnTo>
                  <a:lnTo>
                    <a:pt x="11903" y="7475"/>
                  </a:lnTo>
                  <a:lnTo>
                    <a:pt x="11928" y="7501"/>
                  </a:lnTo>
                  <a:close/>
                </a:path>
              </a:pathLst>
            </a:custGeom>
            <a:solidFill>
              <a:srgbClr val="0070C0"/>
            </a:solidFill>
            <a:ln w="9525">
              <a:noFill/>
              <a:round/>
              <a:headEnd/>
              <a:tailEnd/>
            </a:ln>
          </p:spPr>
          <p:txBody>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fontAlgn="auto">
                <a:spcBef>
                  <a:spcPts val="0"/>
                </a:spcBef>
                <a:spcAft>
                  <a:spcPts val="0"/>
                </a:spcAft>
                <a:defRPr/>
              </a:pPr>
              <a:endParaRPr lang="zh-CN" altLang="en-US" sz="100" kern="0">
                <a:latin typeface="Arial" panose="020B0604020202020204" pitchFamily="34" charset="0"/>
                <a:ea typeface="华文细黑"/>
              </a:endParaRPr>
            </a:p>
          </p:txBody>
        </p:sp>
        <p:sp>
          <p:nvSpPr>
            <p:cNvPr id="128" name="矩形 127"/>
            <p:cNvSpPr/>
            <p:nvPr/>
          </p:nvSpPr>
          <p:spPr>
            <a:xfrm>
              <a:off x="2850745" y="7484363"/>
              <a:ext cx="610397" cy="403957"/>
            </a:xfrm>
            <a:prstGeom prst="rect">
              <a:avLst/>
            </a:prstGeom>
          </p:spPr>
          <p:txBody>
            <a:bodyPr wrap="square" lIns="34292" tIns="17145" rIns="34292" bIns="17145">
              <a:sp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algn="ctr" defTabSz="685651">
                <a:defRPr/>
              </a:pPr>
              <a:r>
                <a:rPr lang="en-US" altLang="zh-CN" sz="600" kern="0" dirty="0" smtClean="0">
                  <a:latin typeface="Arial" panose="020B0604020202020204" pitchFamily="34" charset="0"/>
                  <a:ea typeface="微软雅黑" panose="020B0503020204020204" pitchFamily="34" charset="-122"/>
                  <a:cs typeface="Arial" pitchFamily="34" charset="0"/>
                </a:rPr>
                <a:t>Wi-Fi hotspot</a:t>
              </a:r>
            </a:p>
            <a:p>
              <a:pPr algn="ctr" defTabSz="685651">
                <a:defRPr/>
              </a:pPr>
              <a:r>
                <a:rPr lang="en-US" altLang="zh-CN" sz="600" kern="0" dirty="0" smtClean="0">
                  <a:latin typeface="Arial" panose="020B0604020202020204" pitchFamily="34" charset="0"/>
                  <a:ea typeface="微软雅黑" panose="020B0503020204020204" pitchFamily="34" charset="-122"/>
                  <a:cs typeface="Arial" pitchFamily="34" charset="0"/>
                  <a:sym typeface="微软雅黑" pitchFamily="34" charset="-122"/>
                </a:rPr>
                <a:t>Wi-Fi hotspots provided by the eLTE-U</a:t>
              </a:r>
              <a:endParaRPr lang="en-US" altLang="zh-CN" sz="600" kern="0" dirty="0">
                <a:latin typeface="Arial" panose="020B0604020202020204" pitchFamily="34" charset="0"/>
                <a:ea typeface="微软雅黑" panose="020B0503020204020204" pitchFamily="34" charset="-122"/>
                <a:cs typeface="Arial" pitchFamily="34" charset="0"/>
                <a:sym typeface="微软雅黑" pitchFamily="34" charset="-122"/>
              </a:endParaRPr>
            </a:p>
          </p:txBody>
        </p:sp>
        <p:sp>
          <p:nvSpPr>
            <p:cNvPr id="129" name="矩形 128"/>
            <p:cNvSpPr/>
            <p:nvPr/>
          </p:nvSpPr>
          <p:spPr>
            <a:xfrm>
              <a:off x="1824802" y="7645343"/>
              <a:ext cx="775437" cy="496290"/>
            </a:xfrm>
            <a:prstGeom prst="rect">
              <a:avLst/>
            </a:prstGeom>
          </p:spPr>
          <p:txBody>
            <a:bodyPr wrap="square" lIns="34292" tIns="17145" rIns="34292" bIns="17145">
              <a:sp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algn="ctr" defTabSz="685651">
                <a:defRPr/>
              </a:pPr>
              <a:r>
                <a:rPr lang="en-US" altLang="zh-CN" sz="600" kern="0" dirty="0" smtClean="0">
                  <a:latin typeface="Arial" panose="020B0604020202020204" pitchFamily="34" charset="0"/>
                  <a:ea typeface="微软雅黑" panose="020B0503020204020204" pitchFamily="34" charset="-122"/>
                  <a:cs typeface="Arial" pitchFamily="34" charset="0"/>
                </a:rPr>
                <a:t>Electronic advertising screen</a:t>
              </a:r>
            </a:p>
            <a:p>
              <a:pPr algn="ctr" defTabSz="685651">
                <a:defRPr/>
              </a:pPr>
              <a:r>
                <a:rPr lang="en-US" altLang="zh-CN" sz="600" kern="0" dirty="0" smtClean="0">
                  <a:latin typeface="Arial" panose="020B0604020202020204" pitchFamily="34" charset="0"/>
                  <a:ea typeface="微软雅黑" panose="020B0503020204020204" pitchFamily="34" charset="-122"/>
                  <a:cs typeface="Arial" pitchFamily="34" charset="0"/>
                  <a:sym typeface="微软雅黑" pitchFamily="34" charset="-122"/>
                </a:rPr>
                <a:t>Advertisement placement</a:t>
              </a:r>
            </a:p>
            <a:p>
              <a:pPr algn="ctr" defTabSz="685651">
                <a:defRPr/>
              </a:pPr>
              <a:r>
                <a:rPr lang="en-US" altLang="zh-CN" sz="600" kern="0" dirty="0" smtClean="0">
                  <a:latin typeface="Arial" panose="020B0604020202020204" pitchFamily="34" charset="0"/>
                  <a:ea typeface="微软雅黑" panose="020B0503020204020204" pitchFamily="34" charset="-122"/>
                  <a:cs typeface="Arial" pitchFamily="34" charset="0"/>
                  <a:sym typeface="微软雅黑" pitchFamily="34" charset="-122"/>
                </a:rPr>
                <a:t>Information release</a:t>
              </a:r>
              <a:endParaRPr lang="en-US" altLang="zh-CN" sz="600" kern="0" dirty="0">
                <a:latin typeface="Arial" panose="020B0604020202020204" pitchFamily="34" charset="0"/>
                <a:ea typeface="微软雅黑" panose="020B0503020204020204" pitchFamily="34" charset="-122"/>
                <a:cs typeface="Arial" pitchFamily="34" charset="0"/>
                <a:sym typeface="微软雅黑" pitchFamily="34" charset="-122"/>
              </a:endParaRPr>
            </a:p>
          </p:txBody>
        </p:sp>
        <p:sp>
          <p:nvSpPr>
            <p:cNvPr id="130" name="矩形 129"/>
            <p:cNvSpPr/>
            <p:nvPr/>
          </p:nvSpPr>
          <p:spPr>
            <a:xfrm>
              <a:off x="2813419" y="8040057"/>
              <a:ext cx="666774" cy="311624"/>
            </a:xfrm>
            <a:prstGeom prst="rect">
              <a:avLst/>
            </a:prstGeom>
          </p:spPr>
          <p:txBody>
            <a:bodyPr wrap="square" lIns="34292" tIns="17145" rIns="34292" bIns="17145">
              <a:sp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algn="ctr" defTabSz="685651">
                <a:defRPr/>
              </a:pPr>
              <a:r>
                <a:rPr lang="en-US" altLang="zh-CN" sz="600" kern="0" dirty="0" smtClean="0">
                  <a:latin typeface="Arial" panose="020B0604020202020204" pitchFamily="34" charset="0"/>
                  <a:ea typeface="微软雅黑" panose="020B0503020204020204" pitchFamily="34" charset="-122"/>
                  <a:cs typeface="Arial" pitchFamily="34" charset="0"/>
                </a:rPr>
                <a:t>Charging station</a:t>
              </a:r>
            </a:p>
            <a:p>
              <a:pPr algn="ctr" defTabSz="685651">
                <a:defRPr/>
              </a:pPr>
              <a:r>
                <a:rPr lang="en-US" altLang="zh-CN" sz="600" kern="0" dirty="0" smtClean="0">
                  <a:latin typeface="Arial" panose="020B0604020202020204" pitchFamily="34" charset="0"/>
                  <a:ea typeface="微软雅黑" panose="020B0503020204020204" pitchFamily="34" charset="-122"/>
                  <a:cs typeface="Arial" pitchFamily="34" charset="0"/>
                  <a:sym typeface="微软雅黑" pitchFamily="34" charset="-122"/>
                </a:rPr>
                <a:t>Electric vehicle</a:t>
              </a:r>
            </a:p>
            <a:p>
              <a:pPr algn="ctr" defTabSz="685651">
                <a:defRPr/>
              </a:pPr>
              <a:r>
                <a:rPr lang="en-US" altLang="zh-CN" sz="600" kern="0" dirty="0" smtClean="0">
                  <a:latin typeface="Arial" panose="020B0604020202020204" pitchFamily="34" charset="0"/>
                  <a:ea typeface="微软雅黑" panose="020B0503020204020204" pitchFamily="34" charset="-122"/>
                  <a:cs typeface="Arial" pitchFamily="34" charset="0"/>
                  <a:sym typeface="微软雅黑" pitchFamily="34" charset="-122"/>
                </a:rPr>
                <a:t>Electric bicycle</a:t>
              </a:r>
              <a:endParaRPr lang="en-US" altLang="zh-CN" sz="600" kern="0" dirty="0">
                <a:latin typeface="Arial" panose="020B0604020202020204" pitchFamily="34" charset="0"/>
                <a:ea typeface="微软雅黑" panose="020B0503020204020204" pitchFamily="34" charset="-122"/>
                <a:cs typeface="Arial" pitchFamily="34" charset="0"/>
                <a:sym typeface="微软雅黑" pitchFamily="34" charset="-122"/>
              </a:endParaRPr>
            </a:p>
          </p:txBody>
        </p:sp>
        <p:pic>
          <p:nvPicPr>
            <p:cNvPr id="131" name="Picture 2"/>
            <p:cNvPicPr>
              <a:picLocks noChangeAspect="1" noChangeArrowheads="1"/>
            </p:cNvPicPr>
            <p:nvPr/>
          </p:nvPicPr>
          <p:blipFill>
            <a:blip r:embed="rId21" cstate="print">
              <a:clrChange>
                <a:clrFrom>
                  <a:srgbClr val="FFFFFF"/>
                </a:clrFrom>
                <a:clrTo>
                  <a:srgbClr val="FFFFFF">
                    <a:alpha val="0"/>
                  </a:srgbClr>
                </a:clrTo>
              </a:clrChange>
            </a:blip>
            <a:srcRect/>
            <a:stretch>
              <a:fillRect/>
            </a:stretch>
          </p:blipFill>
          <p:spPr bwMode="auto">
            <a:xfrm>
              <a:off x="2705874" y="7242706"/>
              <a:ext cx="114875" cy="148961"/>
            </a:xfrm>
            <a:prstGeom prst="rect">
              <a:avLst/>
            </a:prstGeom>
            <a:noFill/>
            <a:ln w="9525">
              <a:noFill/>
              <a:miter lim="800000"/>
              <a:headEnd/>
              <a:tailEnd/>
            </a:ln>
          </p:spPr>
        </p:pic>
        <p:pic>
          <p:nvPicPr>
            <p:cNvPr id="132" name="图片 131"/>
            <p:cNvPicPr>
              <a:picLocks noChangeAspect="1"/>
            </p:cNvPicPr>
            <p:nvPr/>
          </p:nvPicPr>
          <p:blipFill rotWithShape="1">
            <a:blip r:embed="rId6" cstate="print">
              <a:extLst>
                <a:ext uri="{BEBA8EAE-BF5A-486C-A8C5-ECC9F3942E4B}">
                  <a14:imgProps xmlns:a14="http://schemas.microsoft.com/office/drawing/2010/main" xmlns="">
                    <a14:imgLayer r:embed="rId7">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a14="http://schemas.microsoft.com/office/drawing/2010/main" xmlns="" val="0"/>
                </a:ext>
              </a:extLst>
            </a:blip>
            <a:srcRect/>
            <a:stretch/>
          </p:blipFill>
          <p:spPr>
            <a:xfrm rot="13047074">
              <a:off x="1716268" y="7049384"/>
              <a:ext cx="254741" cy="287640"/>
            </a:xfrm>
            <a:prstGeom prst="rect">
              <a:avLst/>
            </a:prstGeom>
          </p:spPr>
        </p:pic>
        <p:pic>
          <p:nvPicPr>
            <p:cNvPr id="133" name="Picture 61" descr="D:\TDTECH\解决方案拓扑图\miniPCLe.png"/>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2538693" y="7468841"/>
              <a:ext cx="110789" cy="642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4" name="Picture 3"/>
            <p:cNvPicPr>
              <a:picLocks noChangeAspect="1" noChangeArrowheads="1"/>
            </p:cNvPicPr>
            <p:nvPr/>
          </p:nvPicPr>
          <p:blipFill>
            <a:blip r:embed="rId16" cstate="print">
              <a:lum contrast="-10000"/>
            </a:blip>
            <a:srcRect r="12240"/>
            <a:stretch>
              <a:fillRect/>
            </a:stretch>
          </p:blipFill>
          <p:spPr bwMode="auto">
            <a:xfrm>
              <a:off x="3000253" y="7205784"/>
              <a:ext cx="228182" cy="124067"/>
            </a:xfrm>
            <a:prstGeom prst="rect">
              <a:avLst/>
            </a:prstGeom>
            <a:noFill/>
            <a:ln w="9525">
              <a:noFill/>
              <a:miter lim="800000"/>
              <a:headEnd/>
              <a:tailEnd/>
            </a:ln>
          </p:spPr>
        </p:pic>
        <p:pic>
          <p:nvPicPr>
            <p:cNvPr id="135" name="Picture 2" descr="http://zt.cqxhw.net/2013/zrbg/attachement/jpg/site81/20130221/002421a6b83212903e8303.jpg"/>
            <p:cNvPicPr>
              <a:picLocks noChangeArrowheads="1"/>
            </p:cNvPicPr>
            <p:nvPr/>
          </p:nvPicPr>
          <p:blipFill>
            <a:blip r:embed="rId22" cstate="screen"/>
            <a:stretch>
              <a:fillRect/>
            </a:stretch>
          </p:blipFill>
          <p:spPr bwMode="auto">
            <a:xfrm>
              <a:off x="340028" y="5051464"/>
              <a:ext cx="844772" cy="568334"/>
            </a:xfrm>
            <a:prstGeom prst="rect">
              <a:avLst/>
            </a:prstGeom>
            <a:noFill/>
            <a:ln>
              <a:noFill/>
            </a:ln>
          </p:spPr>
        </p:pic>
        <p:pic>
          <p:nvPicPr>
            <p:cNvPr id="141" name="图片 140"/>
            <p:cNvPicPr>
              <a:picLocks/>
            </p:cNvPicPr>
            <p:nvPr/>
          </p:nvPicPr>
          <p:blipFill>
            <a:blip r:embed="rId23" cstate="print"/>
            <a:stretch>
              <a:fillRect/>
            </a:stretch>
          </p:blipFill>
          <p:spPr>
            <a:xfrm>
              <a:off x="1478966" y="5047481"/>
              <a:ext cx="847027" cy="576300"/>
            </a:xfrm>
            <a:prstGeom prst="rect">
              <a:avLst/>
            </a:prstGeom>
            <a:noFill/>
            <a:ln>
              <a:noFill/>
            </a:ln>
          </p:spPr>
        </p:pic>
        <p:sp>
          <p:nvSpPr>
            <p:cNvPr id="143" name="矩形 142"/>
            <p:cNvSpPr/>
            <p:nvPr/>
          </p:nvSpPr>
          <p:spPr>
            <a:xfrm>
              <a:off x="187042" y="5604658"/>
              <a:ext cx="1198350" cy="21544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800" dirty="0" smtClean="0">
                  <a:solidFill>
                    <a:prstClr val="black"/>
                  </a:solidFill>
                  <a:latin typeface="Arial" panose="020B0604020202020204" pitchFamily="34" charset="0"/>
                  <a:ea typeface="微软雅黑"/>
                  <a:cs typeface="微软雅黑"/>
                </a:rPr>
                <a:t>Lighting control</a:t>
              </a:r>
              <a:endParaRPr kumimoji="1" lang="zh-CN" altLang="en-US" sz="800" dirty="0">
                <a:solidFill>
                  <a:prstClr val="black"/>
                </a:solidFill>
                <a:latin typeface="Arial" panose="020B0604020202020204" pitchFamily="34" charset="0"/>
                <a:ea typeface="微软雅黑"/>
                <a:cs typeface="微软雅黑"/>
              </a:endParaRPr>
            </a:p>
          </p:txBody>
        </p:sp>
        <p:sp>
          <p:nvSpPr>
            <p:cNvPr id="144" name="矩形 143"/>
            <p:cNvSpPr/>
            <p:nvPr/>
          </p:nvSpPr>
          <p:spPr>
            <a:xfrm>
              <a:off x="1478967" y="5604657"/>
              <a:ext cx="858814"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800" dirty="0" smtClean="0">
                  <a:solidFill>
                    <a:prstClr val="black"/>
                  </a:solidFill>
                  <a:latin typeface="Arial" panose="020B0604020202020204" pitchFamily="34" charset="0"/>
                  <a:ea typeface="微软雅黑"/>
                  <a:cs typeface="微软雅黑"/>
                </a:rPr>
                <a:t>Visualized management</a:t>
              </a:r>
              <a:endParaRPr kumimoji="1" lang="zh-CN" altLang="en-US" sz="800" dirty="0">
                <a:solidFill>
                  <a:prstClr val="black"/>
                </a:solidFill>
                <a:latin typeface="Arial" panose="020B0604020202020204" pitchFamily="34" charset="0"/>
                <a:ea typeface="微软雅黑"/>
                <a:cs typeface="微软雅黑"/>
              </a:endParaRPr>
            </a:p>
          </p:txBody>
        </p:sp>
        <p:pic>
          <p:nvPicPr>
            <p:cNvPr id="84" name="图片 10" descr="1"/>
            <p:cNvPicPr>
              <a:picLocks noChangeAspect="1" noChangeArrowheads="1"/>
            </p:cNvPicPr>
            <p:nvPr/>
          </p:nvPicPr>
          <p:blipFill>
            <a:blip r:embed="rId24" cstate="print">
              <a:extLst>
                <a:ext uri="{28A0092B-C50C-407E-A947-70E740481C1C}">
                  <a14:useLocalDpi xmlns:a14="http://schemas.microsoft.com/office/drawing/2010/main" xmlns="" val="0"/>
                </a:ext>
              </a:extLst>
            </a:blip>
            <a:srcRect/>
            <a:stretch>
              <a:fillRect/>
            </a:stretch>
          </p:blipFill>
          <p:spPr bwMode="auto">
            <a:xfrm>
              <a:off x="2489977" y="5048235"/>
              <a:ext cx="923511" cy="574792"/>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86" name="矩形 85"/>
            <p:cNvSpPr/>
            <p:nvPr/>
          </p:nvSpPr>
          <p:spPr>
            <a:xfrm>
              <a:off x="2383979" y="5575920"/>
              <a:ext cx="1181705" cy="584775"/>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800" dirty="0" smtClean="0">
                  <a:solidFill>
                    <a:prstClr val="black"/>
                  </a:solidFill>
                  <a:latin typeface="Arial" panose="020B0604020202020204" pitchFamily="34" charset="0"/>
                  <a:ea typeface="微软雅黑"/>
                  <a:cs typeface="微软雅黑"/>
                </a:rPr>
                <a:t>Value-added services, such as video and advertisement delivery</a:t>
              </a:r>
              <a:endParaRPr kumimoji="1" lang="zh-CN" altLang="en-US" sz="800" dirty="0">
                <a:solidFill>
                  <a:prstClr val="black"/>
                </a:solidFill>
                <a:latin typeface="Arial" panose="020B0604020202020204" pitchFamily="34" charset="0"/>
                <a:ea typeface="微软雅黑"/>
                <a:cs typeface="微软雅黑"/>
              </a:endParaRPr>
            </a:p>
          </p:txBody>
        </p:sp>
        <p:pic>
          <p:nvPicPr>
            <p:cNvPr id="2" name="图片 1"/>
            <p:cNvPicPr>
              <a:picLocks noChangeAspect="1"/>
            </p:cNvPicPr>
            <p:nvPr/>
          </p:nvPicPr>
          <p:blipFill>
            <a:blip r:embed="rId25" cstate="print"/>
            <a:stretch>
              <a:fillRect/>
            </a:stretch>
          </p:blipFill>
          <p:spPr>
            <a:xfrm>
              <a:off x="2526908" y="5117635"/>
              <a:ext cx="851292" cy="435992"/>
            </a:xfrm>
            <a:prstGeom prst="rect">
              <a:avLst/>
            </a:prstGeom>
          </p:spPr>
        </p:pic>
      </p:grpSp>
      <p:sp>
        <p:nvSpPr>
          <p:cNvPr id="87" name="850507679"/>
          <p:cNvSpPr/>
          <p:nvPr/>
        </p:nvSpPr>
        <p:spPr>
          <a:xfrm>
            <a:off x="5488932" y="952566"/>
            <a:ext cx="756000" cy="144000"/>
          </a:xfrm>
          <a:prstGeom prst="rect">
            <a:avLst/>
          </a:prstGeom>
          <a:solidFill>
            <a:srgbClr val="66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8793"/>
            <a:r>
              <a:rPr lang="en-US" altLang="zh-CN" sz="800" dirty="0" smtClean="0">
                <a:solidFill>
                  <a:schemeClr val="tx1"/>
                </a:solidFill>
                <a:latin typeface="Arial" panose="020B0604020202020204" pitchFamily="34" charset="0"/>
                <a:ea typeface="微软雅黑" pitchFamily="34" charset="-122"/>
              </a:rPr>
              <a:t>Self-developed</a:t>
            </a:r>
            <a:endParaRPr lang="en-US" altLang="zh-CN" sz="800" dirty="0">
              <a:solidFill>
                <a:schemeClr val="tx1"/>
              </a:solidFill>
              <a:latin typeface="Arial" panose="020B0604020202020204" pitchFamily="34" charset="0"/>
              <a:ea typeface="微软雅黑" pitchFamily="34" charset="-122"/>
            </a:endParaRPr>
          </a:p>
        </p:txBody>
      </p:sp>
      <p:sp>
        <p:nvSpPr>
          <p:cNvPr id="88" name="3379419"/>
          <p:cNvSpPr/>
          <p:nvPr/>
        </p:nvSpPr>
        <p:spPr>
          <a:xfrm>
            <a:off x="6250765" y="952566"/>
            <a:ext cx="611759" cy="144000"/>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0" tIns="0" rIns="0" bIns="0" anchor="ctr" anchorCtr="0">
            <a:noAutofit/>
          </a:bodyPr>
          <a:lstStyle/>
          <a:p>
            <a:pPr algn="ctr" defTabSz="913909" eaLnBrk="0" fontAlgn="base" hangingPunct="0">
              <a:spcBef>
                <a:spcPct val="0"/>
              </a:spcBef>
              <a:spcAft>
                <a:spcPct val="0"/>
              </a:spcAft>
              <a:buClr>
                <a:srgbClr val="CC9900"/>
              </a:buClr>
            </a:pPr>
            <a:r>
              <a:rPr lang="en-US" altLang="zh-CN" sz="800" b="1" dirty="0" smtClean="0">
                <a:solidFill>
                  <a:prstClr val="white"/>
                </a:solidFill>
                <a:latin typeface="Arial" panose="020B0604020202020204" pitchFamily="34" charset="0"/>
                <a:ea typeface="微软雅黑" pitchFamily="34" charset="-122"/>
              </a:rPr>
              <a:t>Cooperation</a:t>
            </a:r>
            <a:endParaRPr lang="en-US" altLang="zh-CN" sz="800" b="1" dirty="0">
              <a:solidFill>
                <a:prstClr val="white"/>
              </a:solidFill>
              <a:latin typeface="Arial" panose="020B0604020202020204" pitchFamily="34" charset="0"/>
              <a:ea typeface="微软雅黑" pitchFamily="34" charset="-122"/>
            </a:endParaRPr>
          </a:p>
        </p:txBody>
      </p:sp>
      <p:sp>
        <p:nvSpPr>
          <p:cNvPr id="113" name="850507679"/>
          <p:cNvSpPr/>
          <p:nvPr/>
        </p:nvSpPr>
        <p:spPr>
          <a:xfrm>
            <a:off x="5563" y="4845190"/>
            <a:ext cx="756000" cy="144000"/>
          </a:xfrm>
          <a:prstGeom prst="rect">
            <a:avLst/>
          </a:prstGeom>
          <a:solidFill>
            <a:srgbClr val="66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8793"/>
            <a:r>
              <a:rPr lang="en-US" altLang="zh-CN" sz="800" dirty="0" smtClean="0">
                <a:solidFill>
                  <a:schemeClr val="tx1"/>
                </a:solidFill>
                <a:latin typeface="Arial" panose="020B0604020202020204" pitchFamily="34" charset="0"/>
                <a:ea typeface="微软雅黑" pitchFamily="34" charset="-122"/>
              </a:rPr>
              <a:t>Self-developed</a:t>
            </a:r>
            <a:endParaRPr lang="en-US" altLang="zh-CN" sz="800" dirty="0">
              <a:solidFill>
                <a:schemeClr val="tx1"/>
              </a:solidFill>
              <a:latin typeface="Arial" panose="020B0604020202020204" pitchFamily="34" charset="0"/>
              <a:ea typeface="微软雅黑" pitchFamily="34" charset="-122"/>
            </a:endParaRPr>
          </a:p>
        </p:txBody>
      </p:sp>
      <p:sp>
        <p:nvSpPr>
          <p:cNvPr id="120" name="3379419"/>
          <p:cNvSpPr/>
          <p:nvPr/>
        </p:nvSpPr>
        <p:spPr>
          <a:xfrm>
            <a:off x="767396" y="4845190"/>
            <a:ext cx="611759" cy="144000"/>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0" tIns="0" rIns="0" bIns="0" anchor="ctr" anchorCtr="0">
            <a:noAutofit/>
          </a:bodyPr>
          <a:lstStyle/>
          <a:p>
            <a:pPr algn="ctr" defTabSz="913909" eaLnBrk="0" fontAlgn="base" hangingPunct="0">
              <a:spcBef>
                <a:spcPct val="0"/>
              </a:spcBef>
              <a:spcAft>
                <a:spcPct val="0"/>
              </a:spcAft>
              <a:buClr>
                <a:srgbClr val="CC9900"/>
              </a:buClr>
            </a:pPr>
            <a:r>
              <a:rPr lang="en-US" altLang="zh-CN" sz="800" b="1" dirty="0" smtClean="0">
                <a:solidFill>
                  <a:prstClr val="white"/>
                </a:solidFill>
                <a:latin typeface="Arial" panose="020B0604020202020204" pitchFamily="34" charset="0"/>
                <a:ea typeface="微软雅黑" pitchFamily="34" charset="-122"/>
              </a:rPr>
              <a:t>Cooperation</a:t>
            </a:r>
            <a:endParaRPr lang="en-US" altLang="zh-CN" sz="800" b="1" dirty="0">
              <a:solidFill>
                <a:prstClr val="white"/>
              </a:solidFill>
              <a:latin typeface="Arial" panose="020B0604020202020204" pitchFamily="34" charset="0"/>
              <a:ea typeface="微软雅黑" pitchFamily="34" charset="-122"/>
            </a:endParaRPr>
          </a:p>
        </p:txBody>
      </p:sp>
    </p:spTree>
    <p:extLst>
      <p:ext uri="{BB962C8B-B14F-4D97-AF65-F5344CB8AC3E}">
        <p14:creationId xmlns:p14="http://schemas.microsoft.com/office/powerpoint/2010/main" xmlns="" val="4867353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448360074"/>
          <p:cNvSpPr txBox="1"/>
          <p:nvPr/>
        </p:nvSpPr>
        <p:spPr>
          <a:xfrm>
            <a:off x="0" y="621085"/>
            <a:ext cx="6857999" cy="276999"/>
          </a:xfrm>
          <a:prstGeom prst="rect">
            <a:avLst/>
          </a:prstGeom>
          <a:solidFill>
            <a:srgbClr val="2DA159"/>
          </a:solidFill>
        </p:spPr>
        <p:txBody>
          <a:bodyPr wrap="square" rtlCol="0">
            <a:spAutoFit/>
          </a:bodyPr>
          <a:lstStyle>
            <a:defPPr>
              <a:defRPr lang="zh-CN"/>
            </a:defPPr>
            <a:lvl1pPr>
              <a:defRPr b="1">
                <a:solidFill>
                  <a:schemeClr val="bg1"/>
                </a:solidFill>
                <a:latin typeface="+mj-ea"/>
                <a:ea typeface="+mj-ea"/>
              </a:defRPr>
            </a:lvl1pPr>
          </a:lstStyle>
          <a:p>
            <a:r>
              <a:rPr lang="en-US" altLang="zh-CN" sz="1200" dirty="0" smtClean="0">
                <a:latin typeface="Arial" panose="020B0604020202020204" pitchFamily="34" charset="0"/>
              </a:rPr>
              <a:t>Intelligent parking, effectively managing outdoor (curb and open campus) parking lot</a:t>
            </a:r>
            <a:endParaRPr lang="zh-CN" altLang="en-US" sz="1200" dirty="0">
              <a:latin typeface="Arial" panose="020B0604020202020204" pitchFamily="34" charset="0"/>
            </a:endParaRPr>
          </a:p>
        </p:txBody>
      </p:sp>
      <p:sp>
        <p:nvSpPr>
          <p:cNvPr id="98" name="2093823204"/>
          <p:cNvSpPr txBox="1"/>
          <p:nvPr/>
        </p:nvSpPr>
        <p:spPr>
          <a:xfrm>
            <a:off x="-1258" y="3165748"/>
            <a:ext cx="6857999" cy="276999"/>
          </a:xfrm>
          <a:prstGeom prst="rect">
            <a:avLst/>
          </a:prstGeom>
          <a:solidFill>
            <a:srgbClr val="2DA159"/>
          </a:solidFill>
        </p:spPr>
        <p:txBody>
          <a:bodyPr wrap="square" rtlCol="0">
            <a:spAutoFit/>
          </a:bodyPr>
          <a:lstStyle>
            <a:defPPr>
              <a:defRPr lang="zh-CN"/>
            </a:defPPr>
            <a:lvl1pPr>
              <a:defRPr b="1">
                <a:solidFill>
                  <a:schemeClr val="bg1"/>
                </a:solidFill>
                <a:latin typeface="+mj-ea"/>
                <a:ea typeface="+mj-ea"/>
              </a:defRPr>
            </a:lvl1pPr>
          </a:lstStyle>
          <a:p>
            <a:pPr algn="r"/>
            <a:r>
              <a:rPr lang="en-US" altLang="zh-CN" sz="1200" dirty="0" smtClean="0">
                <a:latin typeface="Arial" panose="020B0604020202020204" pitchFamily="34" charset="0"/>
              </a:rPr>
              <a:t>Smart Water, enabling remote meter reading and dynamic river hydrological monitoring</a:t>
            </a:r>
            <a:endParaRPr lang="zh-CN" altLang="en-US" sz="1200" dirty="0">
              <a:latin typeface="Arial" panose="020B0604020202020204" pitchFamily="34" charset="0"/>
            </a:endParaRPr>
          </a:p>
        </p:txBody>
      </p:sp>
      <p:sp>
        <p:nvSpPr>
          <p:cNvPr id="102" name="2052313336"/>
          <p:cNvSpPr>
            <a:spLocks noGrp="1"/>
          </p:cNvSpPr>
          <p:nvPr>
            <p:ph type="subTitle" idx="1"/>
          </p:nvPr>
        </p:nvSpPr>
        <p:spPr>
          <a:xfrm>
            <a:off x="709" y="96838"/>
            <a:ext cx="5322035" cy="538429"/>
          </a:xfrm>
        </p:spPr>
        <p:txBody>
          <a:bodyPr>
            <a:noAutofit/>
          </a:bodyPr>
          <a:lstStyle/>
          <a:p>
            <a:r>
              <a:rPr lang="en-US" altLang="zh-CN" sz="2000" b="1" dirty="0" smtClean="0">
                <a:latin typeface="Arial" panose="020B0604020202020204" pitchFamily="34" charset="0"/>
              </a:rPr>
              <a:t>Smart City Solution Scenarios – Efficient</a:t>
            </a:r>
            <a:endParaRPr lang="zh-CN" altLang="en-US" sz="2000" b="1" dirty="0">
              <a:latin typeface="Arial" panose="020B0604020202020204" pitchFamily="34" charset="0"/>
            </a:endParaRPr>
          </a:p>
        </p:txBody>
      </p:sp>
      <p:sp>
        <p:nvSpPr>
          <p:cNvPr id="6" name="1452361456"/>
          <p:cNvSpPr txBox="1"/>
          <p:nvPr/>
        </p:nvSpPr>
        <p:spPr>
          <a:xfrm>
            <a:off x="0" y="5893668"/>
            <a:ext cx="6857999" cy="276999"/>
          </a:xfrm>
          <a:prstGeom prst="rect">
            <a:avLst/>
          </a:prstGeom>
          <a:solidFill>
            <a:srgbClr val="2DA159"/>
          </a:solidFill>
        </p:spPr>
        <p:txBody>
          <a:bodyPr wrap="square" rtlCol="0">
            <a:spAutoFit/>
          </a:bodyPr>
          <a:lstStyle/>
          <a:p>
            <a:r>
              <a:rPr lang="en-US" altLang="zh-CN" sz="1200" b="1" dirty="0" smtClean="0">
                <a:solidFill>
                  <a:schemeClr val="bg1"/>
                </a:solidFill>
                <a:latin typeface="Arial" panose="020B0604020202020204" pitchFamily="34" charset="0"/>
                <a:ea typeface="+mj-ea"/>
              </a:rPr>
              <a:t>Smart agriculture</a:t>
            </a:r>
            <a:endParaRPr lang="zh-CN" altLang="en-US" sz="1200" b="1" dirty="0">
              <a:solidFill>
                <a:schemeClr val="bg1"/>
              </a:solidFill>
              <a:latin typeface="Arial" panose="020B0604020202020204" pitchFamily="34" charset="0"/>
              <a:ea typeface="+mj-ea"/>
            </a:endParaRPr>
          </a:p>
        </p:txBody>
      </p:sp>
      <p:sp>
        <p:nvSpPr>
          <p:cNvPr id="7" name="矩形 6"/>
          <p:cNvSpPr/>
          <p:nvPr/>
        </p:nvSpPr>
        <p:spPr bwMode="auto">
          <a:xfrm>
            <a:off x="61852" y="933015"/>
            <a:ext cx="4212000" cy="2198826"/>
          </a:xfrm>
          <a:prstGeom prst="rect">
            <a:avLst/>
          </a:prstGeom>
          <a:noFill/>
          <a:ln w="9525" cap="flat" cmpd="sng" algn="ctr">
            <a:solidFill>
              <a:schemeClr val="tx2">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tabLst/>
            </a:pPr>
            <a:endParaRPr lang="zh-CN" altLang="en-US" dirty="0" smtClean="0">
              <a:latin typeface="Arial" panose="020B0604020202020204" pitchFamily="34" charset="0"/>
              <a:ea typeface="微软雅黑" panose="020B0503020204020204" pitchFamily="34" charset="-122"/>
              <a:cs typeface="Arial" panose="020B0604020202020204" pitchFamily="34" charset="0"/>
            </a:endParaRPr>
          </a:p>
        </p:txBody>
      </p:sp>
      <p:cxnSp>
        <p:nvCxnSpPr>
          <p:cNvPr id="8" name="直接连接符 7"/>
          <p:cNvCxnSpPr/>
          <p:nvPr/>
        </p:nvCxnSpPr>
        <p:spPr>
          <a:xfrm flipV="1">
            <a:off x="108465" y="2301270"/>
            <a:ext cx="3851791" cy="2"/>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flipV="1">
            <a:off x="108465" y="1623482"/>
            <a:ext cx="3851791" cy="2"/>
          </a:xfrm>
          <a:prstGeom prst="line">
            <a:avLst/>
          </a:prstGeom>
        </p:spPr>
        <p:style>
          <a:lnRef idx="1">
            <a:schemeClr val="accent1"/>
          </a:lnRef>
          <a:fillRef idx="0">
            <a:schemeClr val="accent1"/>
          </a:fillRef>
          <a:effectRef idx="0">
            <a:schemeClr val="accent1"/>
          </a:effectRef>
          <a:fontRef idx="minor">
            <a:schemeClr val="tx1"/>
          </a:fontRef>
        </p:style>
      </p:cxnSp>
      <p:sp>
        <p:nvSpPr>
          <p:cNvPr id="17" name="223851716"/>
          <p:cNvSpPr>
            <a:spLocks noChangeArrowheads="1"/>
          </p:cNvSpPr>
          <p:nvPr>
            <p:custDataLst>
              <p:tags r:id="rId1"/>
            </p:custDataLst>
          </p:nvPr>
        </p:nvSpPr>
        <p:spPr bwMode="auto">
          <a:xfrm>
            <a:off x="4217876" y="956742"/>
            <a:ext cx="2649406" cy="2244228"/>
          </a:xfrm>
          <a:prstGeom prst="rect">
            <a:avLst/>
          </a:prstGeom>
          <a:noFill/>
          <a:ln w="9525">
            <a:noFill/>
            <a:miter lim="800000"/>
            <a:headEnd/>
            <a:tailEnd/>
          </a:ln>
        </p:spPr>
        <p:txBody>
          <a:bodyPr wrap="square" lIns="121944" tIns="60972" rIns="121944" bIns="60972">
            <a:spAutoFit/>
          </a:bodyPr>
          <a:lstStyle/>
          <a:p>
            <a:pPr marL="156665" indent="-156665" defTabSz="912466" eaLnBrk="0" hangingPunct="0">
              <a:spcAft>
                <a:spcPts val="100"/>
              </a:spcAft>
              <a:buClr>
                <a:srgbClr val="777777"/>
              </a:buClr>
              <a:buSzPct val="100000"/>
            </a:pPr>
            <a:r>
              <a:rPr lang="en-US" altLang="zh-CN" sz="900" b="1" dirty="0" smtClean="0">
                <a:solidFill>
                  <a:srgbClr val="C00000"/>
                </a:solidFill>
                <a:latin typeface="Arial" pitchFamily="34" charset="0"/>
                <a:cs typeface="Arial" pitchFamily="34" charset="0"/>
              </a:rPr>
              <a:t>Customer pain points</a:t>
            </a:r>
            <a:endParaRPr lang="en-US" altLang="zh-CN" sz="900" b="1" dirty="0">
              <a:solidFill>
                <a:srgbClr val="C00000"/>
              </a:solidFill>
              <a:latin typeface="Arial" pitchFamily="34" charset="0"/>
              <a:cs typeface="Arial" pitchFamily="34" charset="0"/>
            </a:endParaRPr>
          </a:p>
          <a:p>
            <a:pPr marL="90488" indent="-90488">
              <a:spcAft>
                <a:spcPts val="100"/>
              </a:spcAft>
              <a:buClr>
                <a:schemeClr val="tx1"/>
              </a:buClr>
              <a:buSzPct val="100000"/>
              <a:buFont typeface="Arial" panose="020B0604020202020204" pitchFamily="34" charset="0"/>
              <a:buChar char="•"/>
              <a:tabLst>
                <a:tab pos="239232" algn="l"/>
              </a:tabLst>
            </a:pPr>
            <a:r>
              <a:rPr lang="en-US" altLang="zh-CN" sz="750" dirty="0" smtClean="0">
                <a:latin typeface="Arial" panose="020B0604020202020204" pitchFamily="34" charset="0"/>
                <a:ea typeface="微软雅黑" pitchFamily="34" charset="-122"/>
              </a:rPr>
              <a:t>Unbalanced outdoor parking usage and turnover cause traffic congestion and illegal parking.</a:t>
            </a:r>
          </a:p>
          <a:p>
            <a:pPr marL="90488" indent="-90488">
              <a:spcAft>
                <a:spcPts val="100"/>
              </a:spcAft>
              <a:buClr>
                <a:schemeClr val="tx1"/>
              </a:buClr>
              <a:buSzPct val="100000"/>
              <a:buFont typeface="Arial" panose="020B0604020202020204" pitchFamily="34" charset="0"/>
              <a:buChar char="•"/>
              <a:tabLst>
                <a:tab pos="239232" algn="l"/>
              </a:tabLst>
            </a:pPr>
            <a:r>
              <a:rPr lang="en-US" altLang="zh-CN" sz="750" dirty="0" smtClean="0">
                <a:latin typeface="Arial" panose="020B0604020202020204" pitchFamily="34" charset="0"/>
                <a:ea typeface="微软雅黑" pitchFamily="34" charset="-122"/>
              </a:rPr>
              <a:t>The existing ZigBee RF mesh network </a:t>
            </a:r>
            <a:r>
              <a:rPr lang="en-US" altLang="zh-CN" sz="750" b="1" dirty="0" smtClean="0">
                <a:solidFill>
                  <a:srgbClr val="FF0000"/>
                </a:solidFill>
                <a:latin typeface="Arial" panose="020B0604020202020204" pitchFamily="34" charset="0"/>
                <a:ea typeface="微软雅黑" pitchFamily="34" charset="-122"/>
              </a:rPr>
              <a:t>is vulnerable to interference </a:t>
            </a:r>
            <a:r>
              <a:rPr lang="en-US" altLang="zh-CN" sz="750" dirty="0" smtClean="0">
                <a:latin typeface="Arial" panose="020B0604020202020204" pitchFamily="34" charset="0"/>
                <a:ea typeface="微软雅黑" pitchFamily="34" charset="-122"/>
              </a:rPr>
              <a:t>and less stable with </a:t>
            </a:r>
            <a:r>
              <a:rPr lang="en-US" altLang="zh-CN" sz="750" b="1" dirty="0" smtClean="0">
                <a:solidFill>
                  <a:srgbClr val="FF0000"/>
                </a:solidFill>
                <a:latin typeface="Arial" panose="020B0604020202020204" pitchFamily="34" charset="0"/>
                <a:ea typeface="微软雅黑" pitchFamily="34" charset="-122"/>
              </a:rPr>
              <a:t>small areas covered</a:t>
            </a:r>
            <a:r>
              <a:rPr lang="en-US" altLang="zh-CN" sz="750" dirty="0" smtClean="0">
                <a:latin typeface="Arial" panose="020B0604020202020204" pitchFamily="34" charset="0"/>
                <a:ea typeface="微软雅黑" pitchFamily="34" charset="-122"/>
              </a:rPr>
              <a:t> by the gateway. The network cannot be deployed on the open road.</a:t>
            </a:r>
            <a:endParaRPr lang="en-US" altLang="zh-CN" sz="750" dirty="0">
              <a:latin typeface="Arial" panose="020B0604020202020204" pitchFamily="34" charset="0"/>
              <a:ea typeface="微软雅黑" pitchFamily="34" charset="-122"/>
            </a:endParaRPr>
          </a:p>
          <a:p>
            <a:pPr marL="156665" indent="-156665" defTabSz="912466" eaLnBrk="0" hangingPunct="0">
              <a:spcAft>
                <a:spcPts val="100"/>
              </a:spcAft>
              <a:buClr>
                <a:srgbClr val="777777"/>
              </a:buClr>
              <a:buSzPct val="100000"/>
            </a:pPr>
            <a:r>
              <a:rPr lang="en-US" altLang="zh-CN" sz="900" b="1" dirty="0" smtClean="0">
                <a:solidFill>
                  <a:srgbClr val="C00000"/>
                </a:solidFill>
                <a:latin typeface="Arial" pitchFamily="34" charset="0"/>
                <a:cs typeface="Arial" pitchFamily="34" charset="0"/>
              </a:rPr>
              <a:t>Customer benefits</a:t>
            </a:r>
          </a:p>
          <a:p>
            <a:pPr marL="90488" indent="-90488">
              <a:spcAft>
                <a:spcPts val="100"/>
              </a:spcAft>
              <a:buClr>
                <a:schemeClr val="tx1"/>
              </a:buClr>
              <a:buSzPct val="100000"/>
              <a:buFont typeface="Arial" panose="020B0604020202020204" pitchFamily="34" charset="0"/>
              <a:buChar char="•"/>
              <a:tabLst>
                <a:tab pos="239232" algn="l"/>
              </a:tabLst>
            </a:pPr>
            <a:r>
              <a:rPr lang="en-US" altLang="zh-CN" sz="750" dirty="0" smtClean="0">
                <a:latin typeface="+mj-lt"/>
                <a:ea typeface="微软雅黑" pitchFamily="34" charset="-122"/>
              </a:rPr>
              <a:t>Coverage capability increases </a:t>
            </a:r>
            <a:r>
              <a:rPr lang="en-US" altLang="zh-CN" sz="750" b="1" dirty="0" smtClean="0">
                <a:solidFill>
                  <a:srgbClr val="FF0000"/>
                </a:solidFill>
                <a:latin typeface="+mj-lt"/>
                <a:ea typeface="微软雅黑" pitchFamily="34" charset="-122"/>
              </a:rPr>
              <a:t>by 10 times </a:t>
            </a:r>
            <a:r>
              <a:rPr lang="en-US" altLang="zh-CN" sz="750" dirty="0" smtClean="0">
                <a:latin typeface="+mj-lt"/>
                <a:ea typeface="微软雅黑" pitchFamily="34" charset="-122"/>
              </a:rPr>
              <a:t>than that of the ZigBee RF mesh network. The new solution can be easily deployed with fewer convergence gateways involved. The TCO reduces by </a:t>
            </a:r>
            <a:r>
              <a:rPr lang="en-US" altLang="zh-CN" sz="750" b="1" dirty="0" smtClean="0">
                <a:solidFill>
                  <a:srgbClr val="FF0000"/>
                </a:solidFill>
                <a:latin typeface="+mj-lt"/>
                <a:ea typeface="微软雅黑" pitchFamily="34" charset="-122"/>
              </a:rPr>
              <a:t>20%</a:t>
            </a:r>
            <a:r>
              <a:rPr lang="en-US" altLang="zh-CN" sz="750" dirty="0" smtClean="0">
                <a:latin typeface="+mj-lt"/>
                <a:ea typeface="微软雅黑" pitchFamily="34" charset="-122"/>
              </a:rPr>
              <a:t> in total.</a:t>
            </a:r>
          </a:p>
          <a:p>
            <a:pPr marL="90488" indent="-90488">
              <a:spcAft>
                <a:spcPts val="100"/>
              </a:spcAft>
              <a:buClr>
                <a:schemeClr val="tx1"/>
              </a:buClr>
              <a:buSzPct val="100000"/>
              <a:buFont typeface="Arial" panose="020B0604020202020204" pitchFamily="34" charset="0"/>
              <a:buChar char="•"/>
              <a:tabLst>
                <a:tab pos="239232" algn="l"/>
              </a:tabLst>
            </a:pPr>
            <a:r>
              <a:rPr lang="en-US" altLang="zh-CN" sz="750" dirty="0" smtClean="0">
                <a:latin typeface="+mj-lt"/>
                <a:ea typeface="微软雅黑" pitchFamily="34" charset="-122"/>
              </a:rPr>
              <a:t>Parking lot utilization increases by </a:t>
            </a:r>
            <a:r>
              <a:rPr lang="en-US" altLang="zh-CN" sz="750" b="1" dirty="0" smtClean="0">
                <a:solidFill>
                  <a:srgbClr val="FF0000"/>
                </a:solidFill>
                <a:latin typeface="+mj-lt"/>
                <a:ea typeface="微软雅黑" pitchFamily="34" charset="-122"/>
              </a:rPr>
              <a:t>40%</a:t>
            </a:r>
            <a:r>
              <a:rPr lang="en-US" altLang="zh-CN" sz="750" dirty="0" smtClean="0">
                <a:latin typeface="+mj-lt"/>
                <a:ea typeface="微软雅黑" pitchFamily="34" charset="-122"/>
              </a:rPr>
              <a:t> and the illegal parking ratio decreases by </a:t>
            </a:r>
            <a:r>
              <a:rPr lang="en-US" altLang="zh-CN" sz="750" b="1" dirty="0" smtClean="0">
                <a:solidFill>
                  <a:srgbClr val="FF0000"/>
                </a:solidFill>
                <a:latin typeface="+mj-lt"/>
                <a:ea typeface="微软雅黑" pitchFamily="34" charset="-122"/>
              </a:rPr>
              <a:t>90%</a:t>
            </a:r>
            <a:r>
              <a:rPr lang="en-US" altLang="zh-CN" sz="750" dirty="0" smtClean="0">
                <a:latin typeface="+mj-lt"/>
                <a:ea typeface="微软雅黑" pitchFamily="34" charset="-122"/>
              </a:rPr>
              <a:t>.</a:t>
            </a:r>
            <a:endParaRPr lang="en-US" altLang="zh-CN" sz="750" b="1" dirty="0" smtClean="0">
              <a:solidFill>
                <a:srgbClr val="FF0000"/>
              </a:solidFill>
              <a:latin typeface="+mj-lt"/>
              <a:ea typeface="微软雅黑" pitchFamily="34" charset="-122"/>
            </a:endParaRPr>
          </a:p>
          <a:p>
            <a:pPr marL="90488" indent="-90488">
              <a:spcAft>
                <a:spcPts val="100"/>
              </a:spcAft>
              <a:buClr>
                <a:schemeClr val="tx1"/>
              </a:buClr>
              <a:buSzPct val="100000"/>
              <a:buFont typeface="Arial" panose="020B0604020202020204" pitchFamily="34" charset="0"/>
              <a:buChar char="•"/>
              <a:tabLst>
                <a:tab pos="239232" algn="l"/>
              </a:tabLst>
            </a:pPr>
            <a:r>
              <a:rPr lang="en-US" altLang="zh-CN" sz="750" dirty="0" smtClean="0">
                <a:latin typeface="+mj-lt"/>
                <a:ea typeface="微软雅黑" pitchFamily="34" charset="-122"/>
              </a:rPr>
              <a:t>Ultra-low power consumption ensures a maximum battery life of </a:t>
            </a:r>
            <a:r>
              <a:rPr lang="en-US" altLang="zh-CN" sz="750" b="1" dirty="0" smtClean="0">
                <a:solidFill>
                  <a:srgbClr val="FF0000"/>
                </a:solidFill>
                <a:latin typeface="+mj-lt"/>
                <a:ea typeface="微软雅黑" pitchFamily="34" charset="-122"/>
              </a:rPr>
              <a:t>five years </a:t>
            </a:r>
            <a:r>
              <a:rPr lang="en-US" altLang="zh-CN" sz="750" dirty="0" smtClean="0">
                <a:latin typeface="+mj-lt"/>
                <a:ea typeface="微软雅黑" pitchFamily="34" charset="-122"/>
              </a:rPr>
              <a:t>for vehicle detectors.</a:t>
            </a:r>
            <a:endParaRPr lang="en-US" altLang="zh-CN" sz="750" dirty="0">
              <a:latin typeface="+mj-lt"/>
              <a:ea typeface="微软雅黑" pitchFamily="34" charset="-122"/>
            </a:endParaRPr>
          </a:p>
          <a:p>
            <a:pPr>
              <a:spcAft>
                <a:spcPts val="100"/>
              </a:spcAft>
              <a:buClr>
                <a:schemeClr val="tx1"/>
              </a:buClr>
              <a:buSzPct val="100000"/>
              <a:tabLst>
                <a:tab pos="239232" algn="l"/>
              </a:tabLst>
            </a:pPr>
            <a:r>
              <a:rPr lang="en-US" altLang="zh-CN" sz="900" b="1" dirty="0" smtClean="0">
                <a:solidFill>
                  <a:srgbClr val="C00000"/>
                </a:solidFill>
                <a:latin typeface="+mj-lt"/>
                <a:cs typeface="Arial" pitchFamily="34" charset="0"/>
              </a:rPr>
              <a:t>Maturity: </a:t>
            </a:r>
            <a:r>
              <a:rPr lang="en-US" altLang="zh-CN" sz="750" dirty="0" smtClean="0">
                <a:latin typeface="+mj-lt"/>
                <a:cs typeface="Arial" pitchFamily="34" charset="0"/>
              </a:rPr>
              <a:t>in pilot in China </a:t>
            </a:r>
            <a:endParaRPr lang="en-US" altLang="zh-CN" sz="750" dirty="0">
              <a:latin typeface="+mj-lt"/>
              <a:ea typeface="微软雅黑" pitchFamily="34" charset="-122"/>
            </a:endParaRPr>
          </a:p>
        </p:txBody>
      </p:sp>
      <p:grpSp>
        <p:nvGrpSpPr>
          <p:cNvPr id="4" name="组合 3"/>
          <p:cNvGrpSpPr/>
          <p:nvPr/>
        </p:nvGrpSpPr>
        <p:grpSpPr>
          <a:xfrm>
            <a:off x="1217079" y="2407113"/>
            <a:ext cx="487005" cy="428311"/>
            <a:chOff x="2948440" y="4359713"/>
            <a:chExt cx="628936" cy="733233"/>
          </a:xfrm>
        </p:grpSpPr>
        <p:pic>
          <p:nvPicPr>
            <p:cNvPr id="18" name="Picture 2" descr="https://frogparking.com/Content/Images/Home/icon-the-sensor.png"/>
            <p:cNvPicPr>
              <a:picLocks noChangeAspect="1" noChangeArrowheads="1"/>
            </p:cNvPicPr>
            <p:nvPr/>
          </p:nvPicPr>
          <p:blipFill>
            <a:blip r:embed="rId6" cstate="print"/>
            <a:srcRect/>
            <a:stretch>
              <a:fillRect/>
            </a:stretch>
          </p:blipFill>
          <p:spPr bwMode="auto">
            <a:xfrm>
              <a:off x="2948440" y="4359713"/>
              <a:ext cx="628936" cy="518109"/>
            </a:xfrm>
            <a:prstGeom prst="rect">
              <a:avLst/>
            </a:prstGeom>
            <a:noFill/>
          </p:spPr>
        </p:pic>
        <p:pic>
          <p:nvPicPr>
            <p:cNvPr id="20" name="图片 19"/>
            <p:cNvPicPr>
              <a:picLocks noChangeAspect="1" noChangeArrowheads="1"/>
            </p:cNvPicPr>
            <p:nvPr/>
          </p:nvPicPr>
          <p:blipFill>
            <a:blip r:embed="rId7" cstate="print">
              <a:clrChange>
                <a:clrFrom>
                  <a:srgbClr val="FFFFFF"/>
                </a:clrFrom>
                <a:clrTo>
                  <a:srgbClr val="FFFFFF">
                    <a:alpha val="0"/>
                  </a:srgbClr>
                </a:clrTo>
              </a:clrChange>
            </a:blip>
            <a:stretch>
              <a:fillRect/>
            </a:stretch>
          </p:blipFill>
          <p:spPr bwMode="auto">
            <a:xfrm>
              <a:off x="3054228" y="4868298"/>
              <a:ext cx="381217" cy="224648"/>
            </a:xfrm>
            <a:prstGeom prst="rect">
              <a:avLst/>
            </a:prstGeom>
            <a:noFill/>
            <a:ln>
              <a:noFill/>
            </a:ln>
          </p:spPr>
        </p:pic>
      </p:grpSp>
      <p:grpSp>
        <p:nvGrpSpPr>
          <p:cNvPr id="3" name="组合 2"/>
          <p:cNvGrpSpPr/>
          <p:nvPr/>
        </p:nvGrpSpPr>
        <p:grpSpPr>
          <a:xfrm>
            <a:off x="848952" y="1630952"/>
            <a:ext cx="2147287" cy="726060"/>
            <a:chOff x="955581" y="1650000"/>
            <a:chExt cx="2147287" cy="890441"/>
          </a:xfrm>
        </p:grpSpPr>
        <p:grpSp>
          <p:nvGrpSpPr>
            <p:cNvPr id="2" name="组合 1"/>
            <p:cNvGrpSpPr/>
            <p:nvPr/>
          </p:nvGrpSpPr>
          <p:grpSpPr>
            <a:xfrm>
              <a:off x="955581" y="1878240"/>
              <a:ext cx="2147287" cy="662201"/>
              <a:chOff x="955581" y="1878240"/>
              <a:chExt cx="2147287" cy="662201"/>
            </a:xfrm>
          </p:grpSpPr>
          <p:sp>
            <p:nvSpPr>
              <p:cNvPr id="10" name="Freeform 27"/>
              <p:cNvSpPr>
                <a:spLocks noEditPoints="1"/>
              </p:cNvSpPr>
              <p:nvPr/>
            </p:nvSpPr>
            <p:spPr bwMode="auto">
              <a:xfrm>
                <a:off x="1061034" y="1878240"/>
                <a:ext cx="1875358" cy="571622"/>
              </a:xfrm>
              <a:custGeom>
                <a:avLst/>
                <a:gdLst>
                  <a:gd name="T0" fmla="*/ 2147483647 w 16443"/>
                  <a:gd name="T1" fmla="*/ 2147483647 h 11487"/>
                  <a:gd name="T2" fmla="*/ 2147483647 w 16443"/>
                  <a:gd name="T3" fmla="*/ 2147483647 h 11487"/>
                  <a:gd name="T4" fmla="*/ 2147483647 w 16443"/>
                  <a:gd name="T5" fmla="*/ 2147483647 h 11487"/>
                  <a:gd name="T6" fmla="*/ 2147483647 w 16443"/>
                  <a:gd name="T7" fmla="*/ 2147483647 h 11487"/>
                  <a:gd name="T8" fmla="*/ 2147483647 w 16443"/>
                  <a:gd name="T9" fmla="*/ 2147483647 h 11487"/>
                  <a:gd name="T10" fmla="*/ 2147483647 w 16443"/>
                  <a:gd name="T11" fmla="*/ 2147483647 h 11487"/>
                  <a:gd name="T12" fmla="*/ 2147483647 w 16443"/>
                  <a:gd name="T13" fmla="*/ 2147483647 h 11487"/>
                  <a:gd name="T14" fmla="*/ 2147483647 w 16443"/>
                  <a:gd name="T15" fmla="*/ 2147483647 h 11487"/>
                  <a:gd name="T16" fmla="*/ 2147483647 w 16443"/>
                  <a:gd name="T17" fmla="*/ 2147483647 h 11487"/>
                  <a:gd name="T18" fmla="*/ 2147483647 w 16443"/>
                  <a:gd name="T19" fmla="*/ 2147483647 h 11487"/>
                  <a:gd name="T20" fmla="*/ 2147483647 w 16443"/>
                  <a:gd name="T21" fmla="*/ 2147483647 h 11487"/>
                  <a:gd name="T22" fmla="*/ 2147483647 w 16443"/>
                  <a:gd name="T23" fmla="*/ 2147483647 h 11487"/>
                  <a:gd name="T24" fmla="*/ 2147483647 w 16443"/>
                  <a:gd name="T25" fmla="*/ 2147483647 h 11487"/>
                  <a:gd name="T26" fmla="*/ 2147483647 w 16443"/>
                  <a:gd name="T27" fmla="*/ 2147483647 h 11487"/>
                  <a:gd name="T28" fmla="*/ 2147483647 w 16443"/>
                  <a:gd name="T29" fmla="*/ 2147483647 h 11487"/>
                  <a:gd name="T30" fmla="*/ 2147483647 w 16443"/>
                  <a:gd name="T31" fmla="*/ 2147483647 h 11487"/>
                  <a:gd name="T32" fmla="*/ 2147483647 w 16443"/>
                  <a:gd name="T33" fmla="*/ 2147483647 h 11487"/>
                  <a:gd name="T34" fmla="*/ 2147483647 w 16443"/>
                  <a:gd name="T35" fmla="*/ 2147483647 h 11487"/>
                  <a:gd name="T36" fmla="*/ 2147483647 w 16443"/>
                  <a:gd name="T37" fmla="*/ 2147483647 h 11487"/>
                  <a:gd name="T38" fmla="*/ 2147483647 w 16443"/>
                  <a:gd name="T39" fmla="*/ 2147483647 h 11487"/>
                  <a:gd name="T40" fmla="*/ 2147483647 w 16443"/>
                  <a:gd name="T41" fmla="*/ 2147483647 h 11487"/>
                  <a:gd name="T42" fmla="*/ 2147483647 w 16443"/>
                  <a:gd name="T43" fmla="*/ 2147483647 h 11487"/>
                  <a:gd name="T44" fmla="*/ 2147483647 w 16443"/>
                  <a:gd name="T45" fmla="*/ 2147483647 h 11487"/>
                  <a:gd name="T46" fmla="*/ 2147483647 w 16443"/>
                  <a:gd name="T47" fmla="*/ 2147483647 h 11487"/>
                  <a:gd name="T48" fmla="*/ 2147483647 w 16443"/>
                  <a:gd name="T49" fmla="*/ 2147483647 h 11487"/>
                  <a:gd name="T50" fmla="*/ 2147483647 w 16443"/>
                  <a:gd name="T51" fmla="*/ 2147483647 h 11487"/>
                  <a:gd name="T52" fmla="*/ 2147483647 w 16443"/>
                  <a:gd name="T53" fmla="*/ 2147483647 h 11487"/>
                  <a:gd name="T54" fmla="*/ 2147483647 w 16443"/>
                  <a:gd name="T55" fmla="*/ 2147483647 h 11487"/>
                  <a:gd name="T56" fmla="*/ 2147483647 w 16443"/>
                  <a:gd name="T57" fmla="*/ 2147483647 h 11487"/>
                  <a:gd name="T58" fmla="*/ 2147483647 w 16443"/>
                  <a:gd name="T59" fmla="*/ 2147483647 h 11487"/>
                  <a:gd name="T60" fmla="*/ 2147483647 w 16443"/>
                  <a:gd name="T61" fmla="*/ 2147483647 h 11487"/>
                  <a:gd name="T62" fmla="*/ 2147483647 w 16443"/>
                  <a:gd name="T63" fmla="*/ 2147483647 h 11487"/>
                  <a:gd name="T64" fmla="*/ 2147483647 w 16443"/>
                  <a:gd name="T65" fmla="*/ 2147483647 h 11487"/>
                  <a:gd name="T66" fmla="*/ 2147483647 w 16443"/>
                  <a:gd name="T67" fmla="*/ 2147483647 h 11487"/>
                  <a:gd name="T68" fmla="*/ 2147483647 w 16443"/>
                  <a:gd name="T69" fmla="*/ 2147483647 h 11487"/>
                  <a:gd name="T70" fmla="*/ 2147483647 w 16443"/>
                  <a:gd name="T71" fmla="*/ 2147483647 h 11487"/>
                  <a:gd name="T72" fmla="*/ 2147483647 w 16443"/>
                  <a:gd name="T73" fmla="*/ 2147483647 h 11487"/>
                  <a:gd name="T74" fmla="*/ 2147483647 w 16443"/>
                  <a:gd name="T75" fmla="*/ 2147483647 h 11487"/>
                  <a:gd name="T76" fmla="*/ 2147483647 w 16443"/>
                  <a:gd name="T77" fmla="*/ 2147483647 h 11487"/>
                  <a:gd name="T78" fmla="*/ 2147483647 w 16443"/>
                  <a:gd name="T79" fmla="*/ 2147483647 h 11487"/>
                  <a:gd name="T80" fmla="*/ 2147483647 w 16443"/>
                  <a:gd name="T81" fmla="*/ 2147483647 h 11487"/>
                  <a:gd name="T82" fmla="*/ 2147483647 w 16443"/>
                  <a:gd name="T83" fmla="*/ 2147483647 h 11487"/>
                  <a:gd name="T84" fmla="*/ 2147483647 w 16443"/>
                  <a:gd name="T85" fmla="*/ 2147483647 h 11487"/>
                  <a:gd name="T86" fmla="*/ 2147483647 w 16443"/>
                  <a:gd name="T87" fmla="*/ 2147483647 h 11487"/>
                  <a:gd name="T88" fmla="*/ 2147483647 w 16443"/>
                  <a:gd name="T89" fmla="*/ 2147483647 h 11487"/>
                  <a:gd name="T90" fmla="*/ 2147483647 w 16443"/>
                  <a:gd name="T91" fmla="*/ 2147483647 h 11487"/>
                  <a:gd name="T92" fmla="*/ 2147483647 w 16443"/>
                  <a:gd name="T93" fmla="*/ 2147483647 h 11487"/>
                  <a:gd name="T94" fmla="*/ 2147483647 w 16443"/>
                  <a:gd name="T95" fmla="*/ 2147483647 h 11487"/>
                  <a:gd name="T96" fmla="*/ 2147483647 w 16443"/>
                  <a:gd name="T97" fmla="*/ 2147483647 h 11487"/>
                  <a:gd name="T98" fmla="*/ 2147483647 w 16443"/>
                  <a:gd name="T99" fmla="*/ 2147483647 h 11487"/>
                  <a:gd name="T100" fmla="*/ 2147483647 w 16443"/>
                  <a:gd name="T101" fmla="*/ 2147483647 h 11487"/>
                  <a:gd name="T102" fmla="*/ 2147483647 w 16443"/>
                  <a:gd name="T103" fmla="*/ 2147483647 h 11487"/>
                  <a:gd name="T104" fmla="*/ 2147483647 w 16443"/>
                  <a:gd name="T105" fmla="*/ 2147483647 h 11487"/>
                  <a:gd name="T106" fmla="*/ 2147483647 w 16443"/>
                  <a:gd name="T107" fmla="*/ 2147483647 h 11487"/>
                  <a:gd name="T108" fmla="*/ 2147483647 w 16443"/>
                  <a:gd name="T109" fmla="*/ 2147483647 h 11487"/>
                  <a:gd name="T110" fmla="*/ 2147483647 w 16443"/>
                  <a:gd name="T111" fmla="*/ 2147483647 h 11487"/>
                  <a:gd name="T112" fmla="*/ 2147483647 w 16443"/>
                  <a:gd name="T113" fmla="*/ 2147483647 h 1148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443"/>
                  <a:gd name="T172" fmla="*/ 0 h 11487"/>
                  <a:gd name="T173" fmla="*/ 16443 w 16443"/>
                  <a:gd name="T174" fmla="*/ 11487 h 1148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66FFFF"/>
              </a:solidFill>
              <a:ln>
                <a:noFill/>
              </a:ln>
            </p:spPr>
            <p:txBody>
              <a:bodyPr wrap="none" anchor="ctr"/>
              <a:lstStyle/>
              <a:p>
                <a:pPr eaLnBrk="1" hangingPunct="1">
                  <a:defRPr/>
                </a:pPr>
                <a:endParaRPr lang="zh-CN" altLang="en-US" sz="1800" dirty="0">
                  <a:solidFill>
                    <a:srgbClr val="000000"/>
                  </a:solidFill>
                  <a:latin typeface="Arial" panose="020B0604020202020204" pitchFamily="34" charset="0"/>
                </a:endParaRPr>
              </a:p>
            </p:txBody>
          </p:sp>
          <p:sp>
            <p:nvSpPr>
              <p:cNvPr id="11" name="TextBox 53"/>
              <p:cNvSpPr txBox="1">
                <a:spLocks noChangeArrowheads="1"/>
              </p:cNvSpPr>
              <p:nvPr/>
            </p:nvSpPr>
            <p:spPr bwMode="auto">
              <a:xfrm>
                <a:off x="955581" y="2030874"/>
                <a:ext cx="1316177" cy="509567"/>
              </a:xfrm>
              <a:prstGeom prst="rect">
                <a:avLst/>
              </a:prstGeom>
              <a:noFill/>
              <a:ln w="9525">
                <a:noFill/>
                <a:miter lim="800000"/>
                <a:headEnd/>
                <a:tailEnd/>
              </a:ln>
            </p:spPr>
            <p:txBody>
              <a:bodyPr wrap="square">
                <a:spAutoFit/>
              </a:bodyPr>
              <a:lstStyle/>
              <a:p>
                <a:pPr algn="ctr"/>
                <a:r>
                  <a:rPr lang="en-US" altLang="zh-CN" sz="1100" b="1" dirty="0" smtClean="0">
                    <a:latin typeface="Arial" panose="020B0604020202020204" pitchFamily="34" charset="0"/>
                    <a:ea typeface="微软雅黑" panose="020B0503020204020204" pitchFamily="34" charset="-122"/>
                  </a:rPr>
                  <a:t>eLTE-IoT</a:t>
                </a:r>
              </a:p>
              <a:p>
                <a:pPr algn="ctr"/>
                <a:r>
                  <a:rPr lang="en-US" altLang="zh-CN" sz="900" dirty="0" smtClean="0">
                    <a:latin typeface="Arial" panose="020B0604020202020204" pitchFamily="34" charset="0"/>
                    <a:ea typeface="微软雅黑" panose="020B0503020204020204" pitchFamily="34" charset="-122"/>
                  </a:rPr>
                  <a:t>ISM band</a:t>
                </a:r>
              </a:p>
            </p:txBody>
          </p:sp>
          <p:sp>
            <p:nvSpPr>
              <p:cNvPr id="14" name="TextBox 53"/>
              <p:cNvSpPr txBox="1">
                <a:spLocks noChangeArrowheads="1"/>
              </p:cNvSpPr>
              <p:nvPr/>
            </p:nvSpPr>
            <p:spPr bwMode="auto">
              <a:xfrm>
                <a:off x="1786691" y="2023866"/>
                <a:ext cx="1316177" cy="509567"/>
              </a:xfrm>
              <a:prstGeom prst="rect">
                <a:avLst/>
              </a:prstGeom>
              <a:noFill/>
              <a:ln w="9525">
                <a:noFill/>
                <a:miter lim="800000"/>
                <a:headEnd/>
                <a:tailEnd/>
              </a:ln>
            </p:spPr>
            <p:txBody>
              <a:bodyPr wrap="square">
                <a:spAutoFit/>
              </a:bodyPr>
              <a:lstStyle/>
              <a:p>
                <a:pPr algn="ctr"/>
                <a:r>
                  <a:rPr lang="en-US" altLang="zh-CN" sz="1100" b="1" dirty="0" smtClean="0">
                    <a:latin typeface="Arial" panose="020B0604020202020204" pitchFamily="34" charset="0"/>
                    <a:ea typeface="微软雅黑" panose="020B0503020204020204" pitchFamily="34" charset="-122"/>
                  </a:rPr>
                  <a:t>eLTE-U</a:t>
                </a:r>
              </a:p>
              <a:p>
                <a:pPr algn="ctr"/>
                <a:r>
                  <a:rPr lang="en-US" altLang="zh-CN" sz="900" dirty="0" smtClean="0">
                    <a:latin typeface="Arial" panose="020B0604020202020204" pitchFamily="34" charset="0"/>
                    <a:ea typeface="微软雅黑" panose="020B0503020204020204" pitchFamily="34" charset="-122"/>
                  </a:rPr>
                  <a:t>5.8 GHz</a:t>
                </a:r>
              </a:p>
            </p:txBody>
          </p:sp>
        </p:grpSp>
        <p:pic>
          <p:nvPicPr>
            <p:cNvPr id="12" name="Picture 2"/>
            <p:cNvPicPr>
              <a:picLocks noChangeAspect="1" noChangeArrowheads="1"/>
            </p:cNvPicPr>
            <p:nvPr/>
          </p:nvPicPr>
          <p:blipFill>
            <a:blip r:embed="rId8" cstate="email">
              <a:clrChange>
                <a:clrFrom>
                  <a:srgbClr val="FFFFFF"/>
                </a:clrFrom>
                <a:clrTo>
                  <a:srgbClr val="FFFFFF">
                    <a:alpha val="0"/>
                  </a:srgbClr>
                </a:clrTo>
              </a:clrChange>
            </a:blip>
            <a:srcRect/>
            <a:stretch>
              <a:fillRect/>
            </a:stretch>
          </p:blipFill>
          <p:spPr bwMode="auto">
            <a:xfrm>
              <a:off x="1454304" y="1650000"/>
              <a:ext cx="351001" cy="471719"/>
            </a:xfrm>
            <a:prstGeom prst="rect">
              <a:avLst/>
            </a:prstGeom>
            <a:noFill/>
            <a:ln w="9525">
              <a:noFill/>
              <a:miter lim="800000"/>
              <a:headEnd/>
              <a:tailEnd/>
            </a:ln>
            <a:effectLst/>
          </p:spPr>
        </p:pic>
        <p:pic>
          <p:nvPicPr>
            <p:cNvPr id="13" name="Picture 2"/>
            <p:cNvPicPr>
              <a:picLocks noChangeAspect="1" noChangeArrowheads="1"/>
            </p:cNvPicPr>
            <p:nvPr/>
          </p:nvPicPr>
          <p:blipFill>
            <a:blip r:embed="rId8" cstate="email">
              <a:clrChange>
                <a:clrFrom>
                  <a:srgbClr val="FFFFFF"/>
                </a:clrFrom>
                <a:clrTo>
                  <a:srgbClr val="FFFFFF">
                    <a:alpha val="0"/>
                  </a:srgbClr>
                </a:clrTo>
              </a:clrChange>
            </a:blip>
            <a:srcRect/>
            <a:stretch>
              <a:fillRect/>
            </a:stretch>
          </p:blipFill>
          <p:spPr bwMode="auto">
            <a:xfrm>
              <a:off x="2267347" y="1659659"/>
              <a:ext cx="351001" cy="471721"/>
            </a:xfrm>
            <a:prstGeom prst="rect">
              <a:avLst/>
            </a:prstGeom>
            <a:noFill/>
            <a:ln w="9525">
              <a:noFill/>
              <a:miter lim="800000"/>
              <a:headEnd/>
              <a:tailEnd/>
            </a:ln>
            <a:effectLst/>
          </p:spPr>
        </p:pic>
      </p:grpSp>
      <p:pic>
        <p:nvPicPr>
          <p:cNvPr id="22" name="图片 21"/>
          <p:cNvPicPr>
            <a:picLocks noChangeAspect="1"/>
          </p:cNvPicPr>
          <p:nvPr/>
        </p:nvPicPr>
        <p:blipFill rotWithShape="1">
          <a:blip r:embed="rId9" cstate="print">
            <a:extLst>
              <a:ext uri="{28A0092B-C50C-407E-A947-70E740481C1C}">
                <a14:useLocalDpi xmlns:a14="http://schemas.microsoft.com/office/drawing/2010/main" xmlns="" val="0"/>
              </a:ext>
            </a:extLst>
          </a:blip>
          <a:srcRect/>
          <a:stretch/>
        </p:blipFill>
        <p:spPr>
          <a:xfrm>
            <a:off x="257806" y="2348071"/>
            <a:ext cx="859282" cy="557453"/>
          </a:xfrm>
          <a:prstGeom prst="rect">
            <a:avLst/>
          </a:prstGeom>
          <a:noFill/>
          <a:ln>
            <a:noFill/>
          </a:ln>
        </p:spPr>
      </p:pic>
      <p:pic>
        <p:nvPicPr>
          <p:cNvPr id="24" name="Picture 1"/>
          <p:cNvPicPr>
            <a:picLocks noChangeAspect="1" noChangeArrowheads="1"/>
          </p:cNvPicPr>
          <p:nvPr/>
        </p:nvPicPr>
        <p:blipFill>
          <a:blip r:embed="rId10" cstate="print"/>
          <a:srcRect/>
          <a:stretch>
            <a:fillRect/>
          </a:stretch>
        </p:blipFill>
        <p:spPr bwMode="auto">
          <a:xfrm>
            <a:off x="2508745" y="2338545"/>
            <a:ext cx="850134" cy="563141"/>
          </a:xfrm>
          <a:prstGeom prst="rect">
            <a:avLst/>
          </a:prstGeom>
          <a:noFill/>
          <a:ln>
            <a:noFill/>
          </a:ln>
        </p:spPr>
      </p:pic>
      <p:grpSp>
        <p:nvGrpSpPr>
          <p:cNvPr id="25" name="组合 24"/>
          <p:cNvGrpSpPr/>
          <p:nvPr/>
        </p:nvGrpSpPr>
        <p:grpSpPr>
          <a:xfrm>
            <a:off x="1897796" y="2467855"/>
            <a:ext cx="587095" cy="296167"/>
            <a:chOff x="4625745" y="4419596"/>
            <a:chExt cx="690279" cy="385520"/>
          </a:xfrm>
        </p:grpSpPr>
        <p:pic>
          <p:nvPicPr>
            <p:cNvPr id="26" name="Picture 2"/>
            <p:cNvPicPr>
              <a:picLocks noChangeAspect="1" noChangeArrowheads="1"/>
            </p:cNvPicPr>
            <p:nvPr/>
          </p:nvPicPr>
          <p:blipFill rotWithShape="1">
            <a:blip r:embed="rId11" cstate="print">
              <a:clrChange>
                <a:clrFrom>
                  <a:srgbClr val="FFFFFF"/>
                </a:clrFrom>
                <a:clrTo>
                  <a:srgbClr val="FFFFFF">
                    <a:alpha val="0"/>
                  </a:srgbClr>
                </a:clrTo>
              </a:clrChange>
            </a:blip>
            <a:srcRect l="19484" t="23532" r="47393" b="20906"/>
            <a:stretch/>
          </p:blipFill>
          <p:spPr bwMode="auto">
            <a:xfrm>
              <a:off x="4625745" y="4419596"/>
              <a:ext cx="324869" cy="357511"/>
            </a:xfrm>
            <a:prstGeom prst="rect">
              <a:avLst/>
            </a:prstGeom>
            <a:noFill/>
            <a:ln w="9525">
              <a:noFill/>
              <a:miter lim="800000"/>
              <a:headEnd/>
              <a:tailEnd/>
            </a:ln>
            <a:effectLst>
              <a:outerShdw blurRad="63500" sx="102000" sy="102000" algn="ctr" rotWithShape="0">
                <a:prstClr val="black">
                  <a:alpha val="80000"/>
                </a:prstClr>
              </a:outerShdw>
            </a:effectLst>
          </p:spPr>
        </p:pic>
        <p:pic>
          <p:nvPicPr>
            <p:cNvPr id="27" name="图片 26"/>
            <p:cNvPicPr>
              <a:picLocks noChangeAspect="1"/>
            </p:cNvPicPr>
            <p:nvPr/>
          </p:nvPicPr>
          <p:blipFill>
            <a:blip r:embed="rId12" cstate="print">
              <a:extLst>
                <a:ext uri="{BEBA8EAE-BF5A-486C-A8C5-ECC9F3942E4B}">
                  <a14:imgProps xmlns:a14="http://schemas.microsoft.com/office/drawing/2010/main" xmlns="">
                    <a14:imgLayer r:embed="rId13">
                      <a14:imgEffect>
                        <a14:backgroundRemoval t="0" b="96517" l="0" r="100000"/>
                      </a14:imgEffect>
                    </a14:imgLayer>
                  </a14:imgProps>
                </a:ext>
              </a:extLst>
            </a:blip>
            <a:stretch>
              <a:fillRect/>
            </a:stretch>
          </p:blipFill>
          <p:spPr>
            <a:xfrm flipH="1">
              <a:off x="4903161" y="4580852"/>
              <a:ext cx="412863" cy="224264"/>
            </a:xfrm>
            <a:prstGeom prst="rect">
              <a:avLst/>
            </a:prstGeom>
          </p:spPr>
        </p:pic>
      </p:grpSp>
      <p:sp>
        <p:nvSpPr>
          <p:cNvPr id="28" name="851104492"/>
          <p:cNvSpPr/>
          <p:nvPr/>
        </p:nvSpPr>
        <p:spPr>
          <a:xfrm>
            <a:off x="3413431" y="2575391"/>
            <a:ext cx="813074" cy="320692"/>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en-US" altLang="zh-CN" sz="900" b="1" dirty="0" err="1" smtClean="0">
                <a:solidFill>
                  <a:prstClr val="white"/>
                </a:solidFill>
                <a:latin typeface="Arial" panose="020B0604020202020204" pitchFamily="34" charset="0"/>
                <a:ea typeface="微软雅黑" pitchFamily="34" charset="-122"/>
              </a:rPr>
              <a:t>Fangle</a:t>
            </a:r>
            <a:endParaRPr lang="en-US" altLang="zh-CN" sz="900" b="1" dirty="0">
              <a:solidFill>
                <a:prstClr val="white"/>
              </a:solidFill>
              <a:latin typeface="Arial" panose="020B0604020202020204" pitchFamily="34" charset="0"/>
              <a:ea typeface="微软雅黑" pitchFamily="34" charset="-122"/>
            </a:endParaRPr>
          </a:p>
        </p:txBody>
      </p:sp>
      <p:sp>
        <p:nvSpPr>
          <p:cNvPr id="29" name="1208428544"/>
          <p:cNvSpPr/>
          <p:nvPr/>
        </p:nvSpPr>
        <p:spPr>
          <a:xfrm>
            <a:off x="3408668" y="1187624"/>
            <a:ext cx="813074" cy="320692"/>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en-US" altLang="zh-CN" sz="900" b="1" dirty="0" err="1" smtClean="0">
                <a:solidFill>
                  <a:prstClr val="white"/>
                </a:solidFill>
                <a:latin typeface="Arial" panose="020B0604020202020204" pitchFamily="34" charset="0"/>
                <a:ea typeface="微软雅黑" pitchFamily="34" charset="-122"/>
              </a:rPr>
              <a:t>Fangle</a:t>
            </a:r>
            <a:endParaRPr lang="en-US" altLang="zh-CN" sz="900" b="1" dirty="0">
              <a:solidFill>
                <a:prstClr val="white"/>
              </a:solidFill>
              <a:latin typeface="Arial" panose="020B0604020202020204" pitchFamily="34" charset="0"/>
              <a:ea typeface="微软雅黑" pitchFamily="34" charset="-122"/>
            </a:endParaRPr>
          </a:p>
        </p:txBody>
      </p:sp>
      <p:sp>
        <p:nvSpPr>
          <p:cNvPr id="30" name="下箭头 29"/>
          <p:cNvSpPr/>
          <p:nvPr/>
        </p:nvSpPr>
        <p:spPr>
          <a:xfrm rot="10800000">
            <a:off x="1847943" y="1544365"/>
            <a:ext cx="140598" cy="202241"/>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Arial" panose="020B0604020202020204" pitchFamily="34" charset="0"/>
            </a:endParaRPr>
          </a:p>
        </p:txBody>
      </p:sp>
      <p:pic>
        <p:nvPicPr>
          <p:cNvPr id="31" name="图片 30"/>
          <p:cNvPicPr>
            <a:picLocks noChangeAspect="1"/>
          </p:cNvPicPr>
          <p:nvPr/>
        </p:nvPicPr>
        <p:blipFill rotWithShape="1">
          <a:blip r:embed="rId14" cstate="print">
            <a:extLst>
              <a:ext uri="{BEBA8EAE-BF5A-486C-A8C5-ECC9F3942E4B}">
                <a14:imgProps xmlns:a14="http://schemas.microsoft.com/office/drawing/2010/main" xmlns="">
                  <a14:imgLayer r:embed="rId15">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a14="http://schemas.microsoft.com/office/drawing/2010/main" xmlns="" val="0"/>
              </a:ext>
            </a:extLst>
          </a:blip>
          <a:srcRect/>
          <a:stretch/>
        </p:blipFill>
        <p:spPr>
          <a:xfrm rot="13765517">
            <a:off x="2139795" y="2259653"/>
            <a:ext cx="201198" cy="227182"/>
          </a:xfrm>
          <a:prstGeom prst="rect">
            <a:avLst/>
          </a:prstGeom>
        </p:spPr>
      </p:pic>
      <p:pic>
        <p:nvPicPr>
          <p:cNvPr id="32" name="图片 31"/>
          <p:cNvPicPr>
            <a:picLocks noChangeAspect="1"/>
          </p:cNvPicPr>
          <p:nvPr/>
        </p:nvPicPr>
        <p:blipFill rotWithShape="1">
          <a:blip r:embed="rId14" cstate="print">
            <a:extLst>
              <a:ext uri="{BEBA8EAE-BF5A-486C-A8C5-ECC9F3942E4B}">
                <a14:imgProps xmlns:a14="http://schemas.microsoft.com/office/drawing/2010/main" xmlns="">
                  <a14:imgLayer r:embed="rId15">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a14="http://schemas.microsoft.com/office/drawing/2010/main" xmlns="" val="0"/>
              </a:ext>
            </a:extLst>
          </a:blip>
          <a:srcRect/>
          <a:stretch/>
        </p:blipFill>
        <p:spPr>
          <a:xfrm rot="18765754">
            <a:off x="1219293" y="2261152"/>
            <a:ext cx="188719" cy="213091"/>
          </a:xfrm>
          <a:prstGeom prst="rect">
            <a:avLst/>
          </a:prstGeom>
        </p:spPr>
      </p:pic>
      <p:sp>
        <p:nvSpPr>
          <p:cNvPr id="33" name="1533342400"/>
          <p:cNvSpPr/>
          <p:nvPr/>
        </p:nvSpPr>
        <p:spPr>
          <a:xfrm>
            <a:off x="184189" y="2916960"/>
            <a:ext cx="1006517" cy="200055"/>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700" dirty="0" smtClean="0">
                <a:solidFill>
                  <a:prstClr val="black"/>
                </a:solidFill>
                <a:latin typeface="Arial" panose="020B0604020202020204" pitchFamily="34" charset="0"/>
                <a:ea typeface="微软雅黑"/>
                <a:cs typeface="微软雅黑"/>
              </a:rPr>
              <a:t>Outdoor parking</a:t>
            </a:r>
            <a:endParaRPr kumimoji="1" lang="zh-CN" altLang="en-US" sz="700" dirty="0">
              <a:solidFill>
                <a:prstClr val="black"/>
              </a:solidFill>
              <a:latin typeface="Arial" panose="020B0604020202020204" pitchFamily="34" charset="0"/>
              <a:ea typeface="微软雅黑"/>
              <a:cs typeface="微软雅黑"/>
            </a:endParaRPr>
          </a:p>
        </p:txBody>
      </p:sp>
      <p:sp>
        <p:nvSpPr>
          <p:cNvPr id="34" name="1836348028"/>
          <p:cNvSpPr/>
          <p:nvPr/>
        </p:nvSpPr>
        <p:spPr>
          <a:xfrm>
            <a:off x="1169941" y="2829497"/>
            <a:ext cx="581281" cy="307777"/>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700" dirty="0" smtClean="0">
                <a:solidFill>
                  <a:prstClr val="black"/>
                </a:solidFill>
                <a:latin typeface="Arial" panose="020B0604020202020204" pitchFamily="34" charset="0"/>
                <a:ea typeface="微软雅黑"/>
                <a:cs typeface="微软雅黑"/>
              </a:rPr>
              <a:t>Vehicle detector</a:t>
            </a:r>
            <a:endParaRPr kumimoji="1" lang="zh-CN" altLang="en-US" sz="700" dirty="0">
              <a:solidFill>
                <a:prstClr val="black"/>
              </a:solidFill>
              <a:latin typeface="Arial" panose="020B0604020202020204" pitchFamily="34" charset="0"/>
              <a:ea typeface="微软雅黑"/>
              <a:cs typeface="微软雅黑"/>
            </a:endParaRPr>
          </a:p>
        </p:txBody>
      </p:sp>
      <p:sp>
        <p:nvSpPr>
          <p:cNvPr id="35" name="1259173335"/>
          <p:cNvSpPr/>
          <p:nvPr/>
        </p:nvSpPr>
        <p:spPr>
          <a:xfrm>
            <a:off x="1871923" y="2775636"/>
            <a:ext cx="638840" cy="415498"/>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700" dirty="0" smtClean="0">
                <a:solidFill>
                  <a:prstClr val="black"/>
                </a:solidFill>
                <a:latin typeface="Arial" panose="020B0604020202020204" pitchFamily="34" charset="0"/>
                <a:ea typeface="微软雅黑"/>
                <a:cs typeface="微软雅黑"/>
              </a:rPr>
              <a:t>eLTE-U video backhaul</a:t>
            </a:r>
            <a:endParaRPr kumimoji="1" lang="zh-CN" altLang="en-US" sz="700" dirty="0">
              <a:solidFill>
                <a:prstClr val="black"/>
              </a:solidFill>
              <a:latin typeface="Arial" panose="020B0604020202020204" pitchFamily="34" charset="0"/>
              <a:ea typeface="微软雅黑"/>
              <a:cs typeface="微软雅黑"/>
            </a:endParaRPr>
          </a:p>
        </p:txBody>
      </p:sp>
      <p:sp>
        <p:nvSpPr>
          <p:cNvPr id="36" name="381190067"/>
          <p:cNvSpPr/>
          <p:nvPr/>
        </p:nvSpPr>
        <p:spPr>
          <a:xfrm>
            <a:off x="2429812" y="2858666"/>
            <a:ext cx="1008000" cy="307777"/>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700" dirty="0" smtClean="0">
                <a:solidFill>
                  <a:prstClr val="black"/>
                </a:solidFill>
                <a:latin typeface="Arial" panose="020B0604020202020204" pitchFamily="34" charset="0"/>
                <a:ea typeface="微软雅黑"/>
                <a:cs typeface="微软雅黑"/>
              </a:rPr>
              <a:t>Vehicle license plate recognition</a:t>
            </a:r>
            <a:endParaRPr kumimoji="1" lang="zh-CN" altLang="en-US" sz="700" dirty="0">
              <a:solidFill>
                <a:prstClr val="black"/>
              </a:solidFill>
              <a:latin typeface="Arial" panose="020B0604020202020204" pitchFamily="34" charset="0"/>
              <a:ea typeface="微软雅黑"/>
              <a:cs typeface="微软雅黑"/>
            </a:endParaRPr>
          </a:p>
        </p:txBody>
      </p:sp>
      <p:pic>
        <p:nvPicPr>
          <p:cNvPr id="38" name="Picture 2" descr="how it works"/>
          <p:cNvPicPr>
            <a:picLocks noChangeAspect="1" noChangeArrowheads="1"/>
          </p:cNvPicPr>
          <p:nvPr/>
        </p:nvPicPr>
        <p:blipFill>
          <a:blip r:embed="rId16" cstate="print"/>
          <a:srcRect/>
          <a:stretch>
            <a:fillRect/>
          </a:stretch>
        </p:blipFill>
        <p:spPr bwMode="auto">
          <a:xfrm>
            <a:off x="751335" y="967408"/>
            <a:ext cx="708290" cy="411836"/>
          </a:xfrm>
          <a:prstGeom prst="rect">
            <a:avLst/>
          </a:prstGeom>
          <a:noFill/>
          <a:ln>
            <a:noFill/>
          </a:ln>
        </p:spPr>
      </p:pic>
      <p:grpSp>
        <p:nvGrpSpPr>
          <p:cNvPr id="21" name="组合 20"/>
          <p:cNvGrpSpPr/>
          <p:nvPr/>
        </p:nvGrpSpPr>
        <p:grpSpPr>
          <a:xfrm>
            <a:off x="2280118" y="989508"/>
            <a:ext cx="729299" cy="372452"/>
            <a:chOff x="-2170656" y="2433795"/>
            <a:chExt cx="1216192" cy="1090584"/>
          </a:xfrm>
        </p:grpSpPr>
        <p:pic>
          <p:nvPicPr>
            <p:cNvPr id="37" name="Picture 2" descr="Marina Mall"/>
            <p:cNvPicPr>
              <a:picLocks noChangeAspect="1" noChangeArrowheads="1"/>
            </p:cNvPicPr>
            <p:nvPr/>
          </p:nvPicPr>
          <p:blipFill>
            <a:blip r:embed="rId17" cstate="print"/>
            <a:srcRect/>
            <a:stretch>
              <a:fillRect/>
            </a:stretch>
          </p:blipFill>
          <p:spPr bwMode="auto">
            <a:xfrm>
              <a:off x="-2170656" y="2433795"/>
              <a:ext cx="1216192" cy="1090584"/>
            </a:xfrm>
            <a:prstGeom prst="rect">
              <a:avLst/>
            </a:prstGeom>
            <a:noFill/>
            <a:ln>
              <a:noFill/>
            </a:ln>
          </p:spPr>
        </p:pic>
        <p:pic>
          <p:nvPicPr>
            <p:cNvPr id="39" name="图片 38"/>
            <p:cNvPicPr preferRelativeResize="0">
              <a:picLocks noChangeAspect="1"/>
            </p:cNvPicPr>
            <p:nvPr/>
          </p:nvPicPr>
          <p:blipFill>
            <a:blip r:embed="rId18" cstate="print"/>
            <a:srcRect/>
            <a:stretch>
              <a:fillRect/>
            </a:stretch>
          </p:blipFill>
          <p:spPr bwMode="auto">
            <a:xfrm>
              <a:off x="-2152280" y="2683960"/>
              <a:ext cx="1155815" cy="664764"/>
            </a:xfrm>
            <a:prstGeom prst="rect">
              <a:avLst/>
            </a:prstGeom>
            <a:noFill/>
            <a:ln>
              <a:noFill/>
            </a:ln>
          </p:spPr>
        </p:pic>
      </p:grpSp>
      <p:sp>
        <p:nvSpPr>
          <p:cNvPr id="42" name="2015567428"/>
          <p:cNvSpPr/>
          <p:nvPr/>
        </p:nvSpPr>
        <p:spPr>
          <a:xfrm>
            <a:off x="481262" y="1331640"/>
            <a:ext cx="1256933" cy="307777"/>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700" dirty="0" smtClean="0">
                <a:solidFill>
                  <a:prstClr val="black"/>
                </a:solidFill>
                <a:latin typeface="Arial" panose="020B0604020202020204" pitchFamily="34" charset="0"/>
                <a:ea typeface="微软雅黑"/>
                <a:cs typeface="微软雅黑"/>
              </a:rPr>
              <a:t>Parking lot reservation and navigation</a:t>
            </a:r>
            <a:endParaRPr kumimoji="1" lang="zh-CN" altLang="en-US" sz="700" dirty="0">
              <a:solidFill>
                <a:prstClr val="black"/>
              </a:solidFill>
              <a:latin typeface="Arial" panose="020B0604020202020204" pitchFamily="34" charset="0"/>
              <a:ea typeface="微软雅黑"/>
              <a:cs typeface="微软雅黑"/>
            </a:endParaRPr>
          </a:p>
        </p:txBody>
      </p:sp>
      <p:sp>
        <p:nvSpPr>
          <p:cNvPr id="43" name="405700556"/>
          <p:cNvSpPr/>
          <p:nvPr/>
        </p:nvSpPr>
        <p:spPr>
          <a:xfrm>
            <a:off x="2026227" y="1331640"/>
            <a:ext cx="1279042" cy="307777"/>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700" dirty="0" smtClean="0">
                <a:solidFill>
                  <a:prstClr val="black"/>
                </a:solidFill>
                <a:latin typeface="Arial" panose="020B0604020202020204" pitchFamily="34" charset="0"/>
                <a:ea typeface="微软雅黑"/>
                <a:cs typeface="微软雅黑"/>
              </a:rPr>
              <a:t>License plate recognition and electronic payment</a:t>
            </a:r>
            <a:endParaRPr kumimoji="1" lang="zh-CN" altLang="en-US" sz="700" dirty="0">
              <a:solidFill>
                <a:prstClr val="black"/>
              </a:solidFill>
              <a:latin typeface="Arial" panose="020B0604020202020204" pitchFamily="34" charset="0"/>
              <a:ea typeface="微软雅黑"/>
              <a:cs typeface="微软雅黑"/>
            </a:endParaRPr>
          </a:p>
        </p:txBody>
      </p:sp>
      <p:sp>
        <p:nvSpPr>
          <p:cNvPr id="46" name="727633100"/>
          <p:cNvSpPr>
            <a:spLocks noChangeArrowheads="1"/>
          </p:cNvSpPr>
          <p:nvPr>
            <p:custDataLst>
              <p:tags r:id="rId2"/>
            </p:custDataLst>
          </p:nvPr>
        </p:nvSpPr>
        <p:spPr bwMode="auto">
          <a:xfrm>
            <a:off x="-63539" y="3524627"/>
            <a:ext cx="2881854" cy="2228840"/>
          </a:xfrm>
          <a:prstGeom prst="rect">
            <a:avLst/>
          </a:prstGeom>
          <a:noFill/>
          <a:ln w="9525">
            <a:noFill/>
            <a:miter lim="800000"/>
            <a:headEnd/>
            <a:tailEnd/>
          </a:ln>
        </p:spPr>
        <p:txBody>
          <a:bodyPr wrap="square" lIns="121944" tIns="60972" rIns="36000" bIns="60972">
            <a:spAutoFit/>
          </a:bodyPr>
          <a:lstStyle/>
          <a:p>
            <a:pPr marL="156665" indent="-156665" defTabSz="912466" eaLnBrk="0" hangingPunct="0">
              <a:spcAft>
                <a:spcPts val="100"/>
              </a:spcAft>
              <a:buClr>
                <a:srgbClr val="777777"/>
              </a:buClr>
              <a:buSzPct val="100000"/>
            </a:pPr>
            <a:r>
              <a:rPr lang="en-US" altLang="zh-CN" sz="900" b="1" dirty="0" smtClean="0">
                <a:solidFill>
                  <a:srgbClr val="C00000"/>
                </a:solidFill>
                <a:latin typeface="Arial" panose="020B0604020202020204" pitchFamily="34" charset="0"/>
                <a:cs typeface="Arial" pitchFamily="34" charset="0"/>
              </a:rPr>
              <a:t>Customer pain points</a:t>
            </a:r>
            <a:endParaRPr lang="en-US" altLang="zh-CN" sz="900" b="1" dirty="0">
              <a:solidFill>
                <a:srgbClr val="C00000"/>
              </a:solidFill>
              <a:latin typeface="Arial" pitchFamily="34" charset="0"/>
              <a:cs typeface="Arial" pitchFamily="34" charset="0"/>
            </a:endParaRPr>
          </a:p>
          <a:p>
            <a:pPr marL="90488" indent="-90488">
              <a:spcAft>
                <a:spcPts val="100"/>
              </a:spcAft>
              <a:buClr>
                <a:schemeClr val="tx1"/>
              </a:buClr>
              <a:buSzPct val="100000"/>
              <a:buFont typeface="Arial" panose="020B0604020202020204" pitchFamily="34" charset="0"/>
              <a:buChar char="•"/>
              <a:tabLst>
                <a:tab pos="239232" algn="l"/>
              </a:tabLst>
            </a:pPr>
            <a:r>
              <a:rPr lang="en-US" altLang="zh-CN" sz="750" dirty="0" smtClean="0">
                <a:latin typeface="Arial" panose="020B0604020202020204" pitchFamily="34" charset="0"/>
                <a:ea typeface="微软雅黑" pitchFamily="34" charset="-122"/>
              </a:rPr>
              <a:t>Missing report rate of existing meters is greater than </a:t>
            </a:r>
            <a:r>
              <a:rPr lang="en-US" altLang="zh-CN" sz="750" b="1" dirty="0" smtClean="0">
                <a:solidFill>
                  <a:srgbClr val="FF0000"/>
                </a:solidFill>
                <a:latin typeface="Arial" panose="020B0604020202020204" pitchFamily="34" charset="0"/>
                <a:ea typeface="微软雅黑" pitchFamily="34" charset="-122"/>
              </a:rPr>
              <a:t>15%</a:t>
            </a:r>
            <a:r>
              <a:rPr lang="en-US" altLang="zh-CN" sz="750" dirty="0" smtClean="0">
                <a:latin typeface="Arial" panose="020B0604020202020204" pitchFamily="34" charset="0"/>
                <a:ea typeface="微软雅黑" pitchFamily="34" charset="-122"/>
              </a:rPr>
              <a:t>, which needs to be corrected through manual efforts. Management difficulties and costs increase.</a:t>
            </a:r>
          </a:p>
          <a:p>
            <a:pPr marL="90488" indent="-90488">
              <a:spcAft>
                <a:spcPts val="100"/>
              </a:spcAft>
              <a:buClr>
                <a:schemeClr val="tx1"/>
              </a:buClr>
              <a:buSzPct val="100000"/>
              <a:buFont typeface="Arial" panose="020B0604020202020204" pitchFamily="34" charset="0"/>
              <a:buChar char="•"/>
              <a:tabLst>
                <a:tab pos="239232" algn="l"/>
              </a:tabLst>
            </a:pPr>
            <a:r>
              <a:rPr lang="en-US" altLang="zh-CN" sz="750" dirty="0" smtClean="0">
                <a:latin typeface="Arial" panose="020B0604020202020204" pitchFamily="34" charset="0"/>
                <a:ea typeface="微软雅黑" pitchFamily="34" charset="-122"/>
              </a:rPr>
              <a:t>Power consumption of the traditional GPRS solution is large. The battery service life is </a:t>
            </a:r>
            <a:r>
              <a:rPr lang="en-US" altLang="zh-CN" sz="750" b="1" dirty="0" smtClean="0">
                <a:solidFill>
                  <a:srgbClr val="FF0000"/>
                </a:solidFill>
                <a:latin typeface="Arial" panose="020B0604020202020204" pitchFamily="34" charset="0"/>
                <a:ea typeface="微软雅黑" pitchFamily="34" charset="-122"/>
              </a:rPr>
              <a:t>one to three years </a:t>
            </a:r>
            <a:r>
              <a:rPr lang="en-US" altLang="zh-CN" sz="750" dirty="0" smtClean="0">
                <a:latin typeface="Arial" panose="020B0604020202020204" pitchFamily="34" charset="0"/>
                <a:ea typeface="微软雅黑" pitchFamily="34" charset="-122"/>
              </a:rPr>
              <a:t>so that batteries need to be replaced regularly.</a:t>
            </a:r>
          </a:p>
          <a:p>
            <a:pPr marL="156665" indent="-156665" defTabSz="912466" eaLnBrk="0" hangingPunct="0">
              <a:spcAft>
                <a:spcPts val="100"/>
              </a:spcAft>
              <a:buClr>
                <a:srgbClr val="777777"/>
              </a:buClr>
              <a:buSzPct val="100000"/>
            </a:pPr>
            <a:r>
              <a:rPr lang="en-US" altLang="zh-CN" sz="900" b="1" dirty="0" smtClean="0">
                <a:solidFill>
                  <a:srgbClr val="C00000"/>
                </a:solidFill>
                <a:latin typeface="Arial" pitchFamily="34" charset="0"/>
                <a:cs typeface="Arial" pitchFamily="34" charset="0"/>
              </a:rPr>
              <a:t>Customer benefits</a:t>
            </a:r>
          </a:p>
          <a:p>
            <a:pPr marL="90488" indent="-90488">
              <a:spcAft>
                <a:spcPts val="100"/>
              </a:spcAft>
              <a:buClr>
                <a:schemeClr val="tx1"/>
              </a:buClr>
              <a:buSzPct val="100000"/>
              <a:buFont typeface="Arial" panose="020B0604020202020204" pitchFamily="34" charset="0"/>
              <a:buChar char="•"/>
              <a:tabLst>
                <a:tab pos="239232" algn="l"/>
              </a:tabLst>
            </a:pPr>
            <a:r>
              <a:rPr lang="en-US" altLang="zh-CN" sz="750" dirty="0" smtClean="0">
                <a:latin typeface="Arial" panose="020B0604020202020204" pitchFamily="34" charset="0"/>
                <a:ea typeface="微软雅黑" pitchFamily="34" charset="-122"/>
              </a:rPr>
              <a:t>Missing report rate of existing meters is </a:t>
            </a:r>
            <a:r>
              <a:rPr lang="en-US" altLang="zh-CN" sz="750" b="1" dirty="0" smtClean="0">
                <a:solidFill>
                  <a:srgbClr val="FF0000"/>
                </a:solidFill>
                <a:latin typeface="Arial" panose="020B0604020202020204" pitchFamily="34" charset="0"/>
                <a:ea typeface="微软雅黑" pitchFamily="34" charset="-122"/>
              </a:rPr>
              <a:t>less than 0.5%</a:t>
            </a:r>
            <a:r>
              <a:rPr lang="en-US" altLang="zh-CN" sz="750" dirty="0" smtClean="0">
                <a:latin typeface="Arial" panose="020B0604020202020204" pitchFamily="34" charset="0"/>
                <a:ea typeface="微软雅黑" pitchFamily="34" charset="-122"/>
              </a:rPr>
              <a:t>. O&amp;M costs are reduced and revenues of water companies increase.</a:t>
            </a:r>
          </a:p>
          <a:p>
            <a:pPr marL="90488" indent="-90488">
              <a:spcAft>
                <a:spcPts val="100"/>
              </a:spcAft>
              <a:buClr>
                <a:schemeClr val="tx1"/>
              </a:buClr>
              <a:buSzPct val="100000"/>
              <a:buFont typeface="Arial" panose="020B0604020202020204" pitchFamily="34" charset="0"/>
              <a:buChar char="•"/>
              <a:tabLst>
                <a:tab pos="239232" algn="l"/>
              </a:tabLst>
            </a:pPr>
            <a:r>
              <a:rPr lang="en-US" altLang="zh-CN" sz="750" dirty="0" smtClean="0">
                <a:latin typeface="Arial" panose="020B0604020202020204" pitchFamily="34" charset="0"/>
                <a:ea typeface="微软雅黑" pitchFamily="34" charset="-122"/>
              </a:rPr>
              <a:t>Ultra-low power consumption ensures that the battery service life reaches </a:t>
            </a:r>
            <a:r>
              <a:rPr lang="en-US" altLang="zh-CN" sz="750" b="1" dirty="0" smtClean="0">
                <a:solidFill>
                  <a:srgbClr val="FF0000"/>
                </a:solidFill>
                <a:latin typeface="Arial" panose="020B0604020202020204" pitchFamily="34" charset="0"/>
                <a:ea typeface="微软雅黑" pitchFamily="34" charset="-122"/>
              </a:rPr>
              <a:t>10 years </a:t>
            </a:r>
            <a:r>
              <a:rPr lang="en-US" altLang="zh-CN" sz="750" dirty="0" smtClean="0">
                <a:latin typeface="Arial" panose="020B0604020202020204" pitchFamily="34" charset="0"/>
                <a:ea typeface="微软雅黑" pitchFamily="34" charset="-122"/>
              </a:rPr>
              <a:t>and the battery does not need to be replaced during the battery lifecycle.</a:t>
            </a:r>
          </a:p>
          <a:p>
            <a:pPr marL="90488" indent="-90488">
              <a:spcAft>
                <a:spcPts val="100"/>
              </a:spcAft>
              <a:buClr>
                <a:schemeClr val="tx1"/>
              </a:buClr>
              <a:buSzPct val="100000"/>
              <a:buFont typeface="Arial" panose="020B0604020202020204" pitchFamily="34" charset="0"/>
              <a:buChar char="•"/>
              <a:tabLst>
                <a:tab pos="239232" algn="l"/>
              </a:tabLst>
            </a:pPr>
            <a:r>
              <a:rPr lang="en-US" altLang="zh-CN" sz="750" dirty="0" smtClean="0">
                <a:latin typeface="Arial" panose="020B0604020202020204" pitchFamily="34" charset="0"/>
                <a:ea typeface="微软雅黑" pitchFamily="34" charset="-122"/>
              </a:rPr>
              <a:t>The water quality is monitored dynamically to ensure water supply security.</a:t>
            </a:r>
          </a:p>
          <a:p>
            <a:pPr>
              <a:spcAft>
                <a:spcPts val="100"/>
              </a:spcAft>
              <a:buClr>
                <a:schemeClr val="tx1"/>
              </a:buClr>
              <a:buSzPct val="100000"/>
              <a:tabLst>
                <a:tab pos="239232" algn="l"/>
              </a:tabLst>
            </a:pPr>
            <a:r>
              <a:rPr lang="en-US" altLang="zh-CN" sz="800" b="1" dirty="0" smtClean="0">
                <a:solidFill>
                  <a:srgbClr val="C00000"/>
                </a:solidFill>
                <a:latin typeface="Arial" pitchFamily="34" charset="0"/>
                <a:cs typeface="Arial" pitchFamily="34" charset="0"/>
              </a:rPr>
              <a:t>Maturity: </a:t>
            </a:r>
            <a:r>
              <a:rPr lang="en-US" altLang="zh-CN" sz="750" dirty="0" smtClean="0">
                <a:latin typeface="Arial" pitchFamily="34" charset="0"/>
                <a:cs typeface="Arial" pitchFamily="34" charset="0"/>
              </a:rPr>
              <a:t>in pilot globally; FOA: ADM in Mexico and EPAL in Angola</a:t>
            </a:r>
            <a:endParaRPr lang="en-US" altLang="zh-CN" sz="750" dirty="0">
              <a:latin typeface="Arial" panose="020B0604020202020204" pitchFamily="34" charset="0"/>
              <a:ea typeface="微软雅黑" pitchFamily="34" charset="-122"/>
            </a:endParaRPr>
          </a:p>
        </p:txBody>
      </p:sp>
      <p:sp>
        <p:nvSpPr>
          <p:cNvPr id="47" name="矩形 46"/>
          <p:cNvSpPr/>
          <p:nvPr/>
        </p:nvSpPr>
        <p:spPr bwMode="auto">
          <a:xfrm>
            <a:off x="2829763" y="3463737"/>
            <a:ext cx="3988382" cy="2376000"/>
          </a:xfrm>
          <a:prstGeom prst="rect">
            <a:avLst/>
          </a:prstGeom>
          <a:noFill/>
          <a:ln w="9525" cap="flat" cmpd="sng" algn="ctr">
            <a:solidFill>
              <a:schemeClr val="tx2">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tabLst/>
            </a:pPr>
            <a:endParaRPr lang="zh-CN" altLang="en-US" dirty="0" smtClean="0">
              <a:latin typeface="Arial" panose="020B0604020202020204" pitchFamily="34" charset="0"/>
              <a:ea typeface="微软雅黑" panose="020B0503020204020204" pitchFamily="34" charset="-122"/>
              <a:cs typeface="Arial" panose="020B0604020202020204" pitchFamily="34" charset="0"/>
            </a:endParaRPr>
          </a:p>
        </p:txBody>
      </p:sp>
      <p:cxnSp>
        <p:nvCxnSpPr>
          <p:cNvPr id="48" name="直接连接符 47"/>
          <p:cNvCxnSpPr/>
          <p:nvPr/>
        </p:nvCxnSpPr>
        <p:spPr>
          <a:xfrm flipV="1">
            <a:off x="2934469" y="5002188"/>
            <a:ext cx="3780000" cy="2"/>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flipV="1">
            <a:off x="2934469" y="4248200"/>
            <a:ext cx="3780000" cy="2"/>
          </a:xfrm>
          <a:prstGeom prst="line">
            <a:avLst/>
          </a:prstGeom>
        </p:spPr>
        <p:style>
          <a:lnRef idx="1">
            <a:schemeClr val="accent1"/>
          </a:lnRef>
          <a:fillRef idx="0">
            <a:schemeClr val="accent1"/>
          </a:fillRef>
          <a:effectRef idx="0">
            <a:schemeClr val="accent1"/>
          </a:effectRef>
          <a:fontRef idx="minor">
            <a:schemeClr val="tx1"/>
          </a:fontRef>
        </p:style>
      </p:cxnSp>
      <p:sp>
        <p:nvSpPr>
          <p:cNvPr id="57" name="Freeform 27"/>
          <p:cNvSpPr>
            <a:spLocks noEditPoints="1"/>
          </p:cNvSpPr>
          <p:nvPr/>
        </p:nvSpPr>
        <p:spPr bwMode="auto">
          <a:xfrm>
            <a:off x="3490323" y="4441775"/>
            <a:ext cx="1875358" cy="466097"/>
          </a:xfrm>
          <a:custGeom>
            <a:avLst/>
            <a:gdLst>
              <a:gd name="T0" fmla="*/ 2147483647 w 16443"/>
              <a:gd name="T1" fmla="*/ 2147483647 h 11487"/>
              <a:gd name="T2" fmla="*/ 2147483647 w 16443"/>
              <a:gd name="T3" fmla="*/ 2147483647 h 11487"/>
              <a:gd name="T4" fmla="*/ 2147483647 w 16443"/>
              <a:gd name="T5" fmla="*/ 2147483647 h 11487"/>
              <a:gd name="T6" fmla="*/ 2147483647 w 16443"/>
              <a:gd name="T7" fmla="*/ 2147483647 h 11487"/>
              <a:gd name="T8" fmla="*/ 2147483647 w 16443"/>
              <a:gd name="T9" fmla="*/ 2147483647 h 11487"/>
              <a:gd name="T10" fmla="*/ 2147483647 w 16443"/>
              <a:gd name="T11" fmla="*/ 2147483647 h 11487"/>
              <a:gd name="T12" fmla="*/ 2147483647 w 16443"/>
              <a:gd name="T13" fmla="*/ 2147483647 h 11487"/>
              <a:gd name="T14" fmla="*/ 2147483647 w 16443"/>
              <a:gd name="T15" fmla="*/ 2147483647 h 11487"/>
              <a:gd name="T16" fmla="*/ 2147483647 w 16443"/>
              <a:gd name="T17" fmla="*/ 2147483647 h 11487"/>
              <a:gd name="T18" fmla="*/ 2147483647 w 16443"/>
              <a:gd name="T19" fmla="*/ 2147483647 h 11487"/>
              <a:gd name="T20" fmla="*/ 2147483647 w 16443"/>
              <a:gd name="T21" fmla="*/ 2147483647 h 11487"/>
              <a:gd name="T22" fmla="*/ 2147483647 w 16443"/>
              <a:gd name="T23" fmla="*/ 2147483647 h 11487"/>
              <a:gd name="T24" fmla="*/ 2147483647 w 16443"/>
              <a:gd name="T25" fmla="*/ 2147483647 h 11487"/>
              <a:gd name="T26" fmla="*/ 2147483647 w 16443"/>
              <a:gd name="T27" fmla="*/ 2147483647 h 11487"/>
              <a:gd name="T28" fmla="*/ 2147483647 w 16443"/>
              <a:gd name="T29" fmla="*/ 2147483647 h 11487"/>
              <a:gd name="T30" fmla="*/ 2147483647 w 16443"/>
              <a:gd name="T31" fmla="*/ 2147483647 h 11487"/>
              <a:gd name="T32" fmla="*/ 2147483647 w 16443"/>
              <a:gd name="T33" fmla="*/ 2147483647 h 11487"/>
              <a:gd name="T34" fmla="*/ 2147483647 w 16443"/>
              <a:gd name="T35" fmla="*/ 2147483647 h 11487"/>
              <a:gd name="T36" fmla="*/ 2147483647 w 16443"/>
              <a:gd name="T37" fmla="*/ 2147483647 h 11487"/>
              <a:gd name="T38" fmla="*/ 2147483647 w 16443"/>
              <a:gd name="T39" fmla="*/ 2147483647 h 11487"/>
              <a:gd name="T40" fmla="*/ 2147483647 w 16443"/>
              <a:gd name="T41" fmla="*/ 2147483647 h 11487"/>
              <a:gd name="T42" fmla="*/ 2147483647 w 16443"/>
              <a:gd name="T43" fmla="*/ 2147483647 h 11487"/>
              <a:gd name="T44" fmla="*/ 2147483647 w 16443"/>
              <a:gd name="T45" fmla="*/ 2147483647 h 11487"/>
              <a:gd name="T46" fmla="*/ 2147483647 w 16443"/>
              <a:gd name="T47" fmla="*/ 2147483647 h 11487"/>
              <a:gd name="T48" fmla="*/ 2147483647 w 16443"/>
              <a:gd name="T49" fmla="*/ 2147483647 h 11487"/>
              <a:gd name="T50" fmla="*/ 2147483647 w 16443"/>
              <a:gd name="T51" fmla="*/ 2147483647 h 11487"/>
              <a:gd name="T52" fmla="*/ 2147483647 w 16443"/>
              <a:gd name="T53" fmla="*/ 2147483647 h 11487"/>
              <a:gd name="T54" fmla="*/ 2147483647 w 16443"/>
              <a:gd name="T55" fmla="*/ 2147483647 h 11487"/>
              <a:gd name="T56" fmla="*/ 2147483647 w 16443"/>
              <a:gd name="T57" fmla="*/ 2147483647 h 11487"/>
              <a:gd name="T58" fmla="*/ 2147483647 w 16443"/>
              <a:gd name="T59" fmla="*/ 2147483647 h 11487"/>
              <a:gd name="T60" fmla="*/ 2147483647 w 16443"/>
              <a:gd name="T61" fmla="*/ 2147483647 h 11487"/>
              <a:gd name="T62" fmla="*/ 2147483647 w 16443"/>
              <a:gd name="T63" fmla="*/ 2147483647 h 11487"/>
              <a:gd name="T64" fmla="*/ 2147483647 w 16443"/>
              <a:gd name="T65" fmla="*/ 2147483647 h 11487"/>
              <a:gd name="T66" fmla="*/ 2147483647 w 16443"/>
              <a:gd name="T67" fmla="*/ 2147483647 h 11487"/>
              <a:gd name="T68" fmla="*/ 2147483647 w 16443"/>
              <a:gd name="T69" fmla="*/ 2147483647 h 11487"/>
              <a:gd name="T70" fmla="*/ 2147483647 w 16443"/>
              <a:gd name="T71" fmla="*/ 2147483647 h 11487"/>
              <a:gd name="T72" fmla="*/ 2147483647 w 16443"/>
              <a:gd name="T73" fmla="*/ 2147483647 h 11487"/>
              <a:gd name="T74" fmla="*/ 2147483647 w 16443"/>
              <a:gd name="T75" fmla="*/ 2147483647 h 11487"/>
              <a:gd name="T76" fmla="*/ 2147483647 w 16443"/>
              <a:gd name="T77" fmla="*/ 2147483647 h 11487"/>
              <a:gd name="T78" fmla="*/ 2147483647 w 16443"/>
              <a:gd name="T79" fmla="*/ 2147483647 h 11487"/>
              <a:gd name="T80" fmla="*/ 2147483647 w 16443"/>
              <a:gd name="T81" fmla="*/ 2147483647 h 11487"/>
              <a:gd name="T82" fmla="*/ 2147483647 w 16443"/>
              <a:gd name="T83" fmla="*/ 2147483647 h 11487"/>
              <a:gd name="T84" fmla="*/ 2147483647 w 16443"/>
              <a:gd name="T85" fmla="*/ 2147483647 h 11487"/>
              <a:gd name="T86" fmla="*/ 2147483647 w 16443"/>
              <a:gd name="T87" fmla="*/ 2147483647 h 11487"/>
              <a:gd name="T88" fmla="*/ 2147483647 w 16443"/>
              <a:gd name="T89" fmla="*/ 2147483647 h 11487"/>
              <a:gd name="T90" fmla="*/ 2147483647 w 16443"/>
              <a:gd name="T91" fmla="*/ 2147483647 h 11487"/>
              <a:gd name="T92" fmla="*/ 2147483647 w 16443"/>
              <a:gd name="T93" fmla="*/ 2147483647 h 11487"/>
              <a:gd name="T94" fmla="*/ 2147483647 w 16443"/>
              <a:gd name="T95" fmla="*/ 2147483647 h 11487"/>
              <a:gd name="T96" fmla="*/ 2147483647 w 16443"/>
              <a:gd name="T97" fmla="*/ 2147483647 h 11487"/>
              <a:gd name="T98" fmla="*/ 2147483647 w 16443"/>
              <a:gd name="T99" fmla="*/ 2147483647 h 11487"/>
              <a:gd name="T100" fmla="*/ 2147483647 w 16443"/>
              <a:gd name="T101" fmla="*/ 2147483647 h 11487"/>
              <a:gd name="T102" fmla="*/ 2147483647 w 16443"/>
              <a:gd name="T103" fmla="*/ 2147483647 h 11487"/>
              <a:gd name="T104" fmla="*/ 2147483647 w 16443"/>
              <a:gd name="T105" fmla="*/ 2147483647 h 11487"/>
              <a:gd name="T106" fmla="*/ 2147483647 w 16443"/>
              <a:gd name="T107" fmla="*/ 2147483647 h 11487"/>
              <a:gd name="T108" fmla="*/ 2147483647 w 16443"/>
              <a:gd name="T109" fmla="*/ 2147483647 h 11487"/>
              <a:gd name="T110" fmla="*/ 2147483647 w 16443"/>
              <a:gd name="T111" fmla="*/ 2147483647 h 11487"/>
              <a:gd name="T112" fmla="*/ 2147483647 w 16443"/>
              <a:gd name="T113" fmla="*/ 2147483647 h 1148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443"/>
              <a:gd name="T172" fmla="*/ 0 h 11487"/>
              <a:gd name="T173" fmla="*/ 16443 w 16443"/>
              <a:gd name="T174" fmla="*/ 11487 h 1148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66FFFF"/>
          </a:solidFill>
          <a:ln>
            <a:noFill/>
          </a:ln>
        </p:spPr>
        <p:txBody>
          <a:bodyPr wrap="none" anchor="ctr"/>
          <a:lstStyle/>
          <a:p>
            <a:pPr eaLnBrk="1" hangingPunct="1">
              <a:defRPr/>
            </a:pPr>
            <a:endParaRPr lang="zh-CN" altLang="en-US" sz="1800" dirty="0">
              <a:solidFill>
                <a:srgbClr val="000000"/>
              </a:solidFill>
              <a:latin typeface="Arial" panose="020B0604020202020204" pitchFamily="34" charset="0"/>
            </a:endParaRPr>
          </a:p>
        </p:txBody>
      </p:sp>
      <p:sp>
        <p:nvSpPr>
          <p:cNvPr id="58" name="TextBox 53"/>
          <p:cNvSpPr txBox="1">
            <a:spLocks noChangeArrowheads="1"/>
          </p:cNvSpPr>
          <p:nvPr/>
        </p:nvSpPr>
        <p:spPr bwMode="auto">
          <a:xfrm>
            <a:off x="3384870" y="4566232"/>
            <a:ext cx="1316177" cy="415498"/>
          </a:xfrm>
          <a:prstGeom prst="rect">
            <a:avLst/>
          </a:prstGeom>
          <a:noFill/>
          <a:ln w="9525">
            <a:noFill/>
            <a:miter lim="800000"/>
            <a:headEnd/>
            <a:tailEnd/>
          </a:ln>
        </p:spPr>
        <p:txBody>
          <a:bodyPr wrap="square">
            <a:spAutoFit/>
          </a:bodyPr>
          <a:lstStyle/>
          <a:p>
            <a:pPr algn="ctr"/>
            <a:r>
              <a:rPr lang="en-US" altLang="zh-CN" sz="1100" b="1" dirty="0" smtClean="0">
                <a:latin typeface="Arial" panose="020B0604020202020204" pitchFamily="34" charset="0"/>
                <a:ea typeface="微软雅黑" panose="020B0503020204020204" pitchFamily="34" charset="-122"/>
              </a:rPr>
              <a:t>eLTE-IoT</a:t>
            </a:r>
          </a:p>
          <a:p>
            <a:pPr algn="ctr"/>
            <a:r>
              <a:rPr lang="en-US" altLang="zh-CN" sz="900" dirty="0" smtClean="0">
                <a:latin typeface="Arial" panose="020B0604020202020204" pitchFamily="34" charset="0"/>
                <a:ea typeface="微软雅黑" panose="020B0503020204020204" pitchFamily="34" charset="-122"/>
              </a:rPr>
              <a:t>ISM band</a:t>
            </a:r>
          </a:p>
        </p:txBody>
      </p:sp>
      <p:sp>
        <p:nvSpPr>
          <p:cNvPr id="59" name="TextBox 53"/>
          <p:cNvSpPr txBox="1">
            <a:spLocks noChangeArrowheads="1"/>
          </p:cNvSpPr>
          <p:nvPr/>
        </p:nvSpPr>
        <p:spPr bwMode="auto">
          <a:xfrm>
            <a:off x="4215980" y="4560518"/>
            <a:ext cx="1316177" cy="415498"/>
          </a:xfrm>
          <a:prstGeom prst="rect">
            <a:avLst/>
          </a:prstGeom>
          <a:noFill/>
          <a:ln w="9525">
            <a:noFill/>
            <a:miter lim="800000"/>
            <a:headEnd/>
            <a:tailEnd/>
          </a:ln>
        </p:spPr>
        <p:txBody>
          <a:bodyPr wrap="square">
            <a:spAutoFit/>
          </a:bodyPr>
          <a:lstStyle/>
          <a:p>
            <a:pPr algn="ctr"/>
            <a:r>
              <a:rPr lang="en-US" altLang="zh-CN" sz="1100" b="1" dirty="0" smtClean="0">
                <a:latin typeface="Arial" panose="020B0604020202020204" pitchFamily="34" charset="0"/>
                <a:ea typeface="微软雅黑" panose="020B0503020204020204" pitchFamily="34" charset="-122"/>
              </a:rPr>
              <a:t>eLTE-U</a:t>
            </a:r>
          </a:p>
          <a:p>
            <a:pPr algn="ctr"/>
            <a:r>
              <a:rPr lang="en-US" altLang="zh-CN" sz="900" dirty="0" smtClean="0">
                <a:latin typeface="Arial" panose="020B0604020202020204" pitchFamily="34" charset="0"/>
                <a:ea typeface="微软雅黑" panose="020B0503020204020204" pitchFamily="34" charset="-122"/>
              </a:rPr>
              <a:t>5.8 GHz</a:t>
            </a:r>
          </a:p>
        </p:txBody>
      </p:sp>
      <p:pic>
        <p:nvPicPr>
          <p:cNvPr id="55" name="Picture 2"/>
          <p:cNvPicPr>
            <a:picLocks noChangeAspect="1" noChangeArrowheads="1"/>
          </p:cNvPicPr>
          <p:nvPr/>
        </p:nvPicPr>
        <p:blipFill>
          <a:blip r:embed="rId8" cstate="email">
            <a:clrChange>
              <a:clrFrom>
                <a:srgbClr val="FFFFFF"/>
              </a:clrFrom>
              <a:clrTo>
                <a:srgbClr val="FFFFFF">
                  <a:alpha val="0"/>
                </a:srgbClr>
              </a:clrTo>
            </a:clrChange>
          </a:blip>
          <a:srcRect/>
          <a:stretch>
            <a:fillRect/>
          </a:stretch>
        </p:blipFill>
        <p:spPr bwMode="auto">
          <a:xfrm>
            <a:off x="3855018" y="4255670"/>
            <a:ext cx="351001" cy="384637"/>
          </a:xfrm>
          <a:prstGeom prst="rect">
            <a:avLst/>
          </a:prstGeom>
          <a:noFill/>
          <a:ln w="9525">
            <a:noFill/>
            <a:miter lim="800000"/>
            <a:headEnd/>
            <a:tailEnd/>
          </a:ln>
          <a:effectLst/>
        </p:spPr>
      </p:pic>
      <p:pic>
        <p:nvPicPr>
          <p:cNvPr id="56" name="Picture 2"/>
          <p:cNvPicPr>
            <a:picLocks noChangeAspect="1" noChangeArrowheads="1"/>
          </p:cNvPicPr>
          <p:nvPr/>
        </p:nvPicPr>
        <p:blipFill>
          <a:blip r:embed="rId8" cstate="email">
            <a:clrChange>
              <a:clrFrom>
                <a:srgbClr val="FFFFFF"/>
              </a:clrFrom>
              <a:clrTo>
                <a:srgbClr val="FFFFFF">
                  <a:alpha val="0"/>
                </a:srgbClr>
              </a:clrTo>
            </a:clrChange>
          </a:blip>
          <a:srcRect/>
          <a:stretch>
            <a:fillRect/>
          </a:stretch>
        </p:blipFill>
        <p:spPr bwMode="auto">
          <a:xfrm>
            <a:off x="4696636" y="4263546"/>
            <a:ext cx="351001" cy="384638"/>
          </a:xfrm>
          <a:prstGeom prst="rect">
            <a:avLst/>
          </a:prstGeom>
          <a:noFill/>
          <a:ln w="9525">
            <a:noFill/>
            <a:miter lim="800000"/>
            <a:headEnd/>
            <a:tailEnd/>
          </a:ln>
          <a:effectLst/>
        </p:spPr>
      </p:pic>
      <p:sp>
        <p:nvSpPr>
          <p:cNvPr id="65" name="1250728846"/>
          <p:cNvSpPr/>
          <p:nvPr/>
        </p:nvSpPr>
        <p:spPr>
          <a:xfrm>
            <a:off x="5987449" y="5074805"/>
            <a:ext cx="813074" cy="462871"/>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en-US" altLang="zh-CN" sz="700" b="1" smtClean="0">
                <a:solidFill>
                  <a:srgbClr val="FFFFFF"/>
                </a:solidFill>
                <a:latin typeface="Arial" panose="020B0604020202020204" pitchFamily="34" charset="0"/>
                <a:ea typeface="微软雅黑" pitchFamily="34" charset="-122"/>
              </a:rPr>
              <a:t>Jiangxi</a:t>
            </a:r>
            <a:r>
              <a:rPr lang="en-US" altLang="zh-CN" sz="700" b="1" smtClean="0">
                <a:solidFill>
                  <a:prstClr val="white"/>
                </a:solidFill>
                <a:latin typeface="Arial" panose="020B0604020202020204" pitchFamily="34" charset="0"/>
                <a:ea typeface="微软雅黑" pitchFamily="34" charset="-122"/>
              </a:rPr>
              <a:t> </a:t>
            </a:r>
            <a:r>
              <a:rPr lang="en-US" altLang="zh-CN" sz="700" b="1" smtClean="0">
                <a:solidFill>
                  <a:srgbClr val="FFFFFF"/>
                </a:solidFill>
                <a:latin typeface="Arial" panose="020B0604020202020204" pitchFamily="34" charset="0"/>
                <a:ea typeface="微软雅黑" pitchFamily="34" charset="-122"/>
              </a:rPr>
              <a:t>Sanchuan</a:t>
            </a:r>
            <a:r>
              <a:rPr lang="en-US" altLang="zh-CN" sz="700" b="1" smtClean="0">
                <a:solidFill>
                  <a:prstClr val="white"/>
                </a:solidFill>
                <a:latin typeface="Arial" panose="020B0604020202020204" pitchFamily="34" charset="0"/>
                <a:ea typeface="微软雅黑" pitchFamily="34" charset="-122"/>
              </a:rPr>
              <a:t> </a:t>
            </a:r>
            <a:r>
              <a:rPr lang="en-US" altLang="zh-CN" sz="700" b="1" dirty="0" smtClean="0">
                <a:solidFill>
                  <a:prstClr val="white"/>
                </a:solidFill>
                <a:latin typeface="Arial" panose="020B0604020202020204" pitchFamily="34" charset="0"/>
                <a:ea typeface="微软雅黑" pitchFamily="34" charset="-122"/>
              </a:rPr>
              <a:t>Water Meter Co., Ltd.</a:t>
            </a:r>
          </a:p>
          <a:p>
            <a:pPr algn="ctr" defTabSz="913909" eaLnBrk="0" fontAlgn="base" hangingPunct="0">
              <a:spcBef>
                <a:spcPct val="0"/>
              </a:spcBef>
              <a:spcAft>
                <a:spcPct val="0"/>
              </a:spcAft>
              <a:buClr>
                <a:srgbClr val="CC9900"/>
              </a:buClr>
            </a:pPr>
            <a:r>
              <a:rPr lang="en-US" altLang="zh-CN" sz="700" b="1" dirty="0" smtClean="0">
                <a:solidFill>
                  <a:prstClr val="white"/>
                </a:solidFill>
                <a:latin typeface="Arial" panose="020B0604020202020204" pitchFamily="34" charset="0"/>
                <a:ea typeface="微软雅黑" pitchFamily="34" charset="-122"/>
              </a:rPr>
              <a:t>AUGUR</a:t>
            </a:r>
            <a:endParaRPr lang="en-US" altLang="zh-CN" sz="700" b="1" dirty="0">
              <a:solidFill>
                <a:prstClr val="white"/>
              </a:solidFill>
              <a:latin typeface="Arial" panose="020B0604020202020204" pitchFamily="34" charset="0"/>
              <a:ea typeface="微软雅黑" pitchFamily="34" charset="-122"/>
            </a:endParaRPr>
          </a:p>
        </p:txBody>
      </p:sp>
      <p:sp>
        <p:nvSpPr>
          <p:cNvPr id="66" name="1032940272"/>
          <p:cNvSpPr/>
          <p:nvPr/>
        </p:nvSpPr>
        <p:spPr>
          <a:xfrm>
            <a:off x="5987449" y="3665468"/>
            <a:ext cx="813074" cy="449611"/>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en-US" altLang="zh-CN" sz="700" b="1" smtClean="0">
                <a:solidFill>
                  <a:srgbClr val="FFFFFF"/>
                </a:solidFill>
                <a:latin typeface="Arial" panose="020B0604020202020204" pitchFamily="34" charset="0"/>
                <a:ea typeface="微软雅黑" pitchFamily="34" charset="-122"/>
              </a:rPr>
              <a:t>Jiangxi</a:t>
            </a:r>
            <a:r>
              <a:rPr lang="en-US" altLang="zh-CN" sz="700" b="1" smtClean="0">
                <a:solidFill>
                  <a:prstClr val="white"/>
                </a:solidFill>
                <a:latin typeface="Arial" panose="020B0604020202020204" pitchFamily="34" charset="0"/>
                <a:ea typeface="微软雅黑" pitchFamily="34" charset="-122"/>
              </a:rPr>
              <a:t> </a:t>
            </a:r>
            <a:r>
              <a:rPr lang="en-US" altLang="zh-CN" sz="700" b="1" smtClean="0">
                <a:solidFill>
                  <a:srgbClr val="FFFFFF"/>
                </a:solidFill>
                <a:latin typeface="Arial" panose="020B0604020202020204" pitchFamily="34" charset="0"/>
                <a:ea typeface="微软雅黑" pitchFamily="34" charset="-122"/>
              </a:rPr>
              <a:t>Sanchuan</a:t>
            </a:r>
            <a:r>
              <a:rPr lang="en-US" altLang="zh-CN" sz="700" b="1" smtClean="0">
                <a:solidFill>
                  <a:prstClr val="white"/>
                </a:solidFill>
                <a:latin typeface="Arial" panose="020B0604020202020204" pitchFamily="34" charset="0"/>
                <a:ea typeface="微软雅黑" pitchFamily="34" charset="-122"/>
              </a:rPr>
              <a:t> </a:t>
            </a:r>
            <a:r>
              <a:rPr lang="en-US" altLang="zh-CN" sz="700" b="1" dirty="0" smtClean="0">
                <a:solidFill>
                  <a:prstClr val="white"/>
                </a:solidFill>
                <a:latin typeface="Arial" panose="020B0604020202020204" pitchFamily="34" charset="0"/>
                <a:ea typeface="微软雅黑" pitchFamily="34" charset="-122"/>
              </a:rPr>
              <a:t>Water Meter Co., Ltd.</a:t>
            </a:r>
          </a:p>
          <a:p>
            <a:pPr algn="ctr" defTabSz="913909" eaLnBrk="0" fontAlgn="base" hangingPunct="0">
              <a:spcBef>
                <a:spcPct val="0"/>
              </a:spcBef>
              <a:spcAft>
                <a:spcPct val="0"/>
              </a:spcAft>
              <a:buClr>
                <a:srgbClr val="CC9900"/>
              </a:buClr>
            </a:pPr>
            <a:r>
              <a:rPr lang="en-US" altLang="zh-CN" sz="700" b="1" dirty="0" smtClean="0">
                <a:solidFill>
                  <a:prstClr val="white"/>
                </a:solidFill>
                <a:latin typeface="Arial" panose="020B0604020202020204" pitchFamily="34" charset="0"/>
                <a:ea typeface="微软雅黑" pitchFamily="34" charset="-122"/>
              </a:rPr>
              <a:t>AUGUR</a:t>
            </a:r>
            <a:endParaRPr lang="en-US" altLang="zh-CN" sz="700" b="1" dirty="0">
              <a:solidFill>
                <a:prstClr val="white"/>
              </a:solidFill>
              <a:latin typeface="Arial" panose="020B0604020202020204" pitchFamily="34" charset="0"/>
              <a:ea typeface="微软雅黑" pitchFamily="34" charset="-122"/>
            </a:endParaRPr>
          </a:p>
        </p:txBody>
      </p:sp>
      <p:sp>
        <p:nvSpPr>
          <p:cNvPr id="67" name="下箭头 66"/>
          <p:cNvSpPr/>
          <p:nvPr/>
        </p:nvSpPr>
        <p:spPr>
          <a:xfrm rot="10800000">
            <a:off x="4377511" y="4188133"/>
            <a:ext cx="140598" cy="202241"/>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Arial" panose="020B0604020202020204" pitchFamily="34" charset="0"/>
            </a:endParaRPr>
          </a:p>
        </p:txBody>
      </p:sp>
      <p:pic>
        <p:nvPicPr>
          <p:cNvPr id="69" name="图片 68"/>
          <p:cNvPicPr>
            <a:picLocks noChangeAspect="1"/>
          </p:cNvPicPr>
          <p:nvPr/>
        </p:nvPicPr>
        <p:blipFill rotWithShape="1">
          <a:blip r:embed="rId14" cstate="print">
            <a:extLst>
              <a:ext uri="{BEBA8EAE-BF5A-486C-A8C5-ECC9F3942E4B}">
                <a14:imgProps xmlns:a14="http://schemas.microsoft.com/office/drawing/2010/main" xmlns="">
                  <a14:imgLayer r:embed="rId15">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a14="http://schemas.microsoft.com/office/drawing/2010/main" xmlns="" val="0"/>
              </a:ext>
            </a:extLst>
          </a:blip>
          <a:srcRect/>
          <a:stretch/>
        </p:blipFill>
        <p:spPr>
          <a:xfrm rot="18765754">
            <a:off x="3552391" y="4898388"/>
            <a:ext cx="188719" cy="213091"/>
          </a:xfrm>
          <a:prstGeom prst="rect">
            <a:avLst/>
          </a:prstGeom>
        </p:spPr>
      </p:pic>
      <p:pic>
        <p:nvPicPr>
          <p:cNvPr id="80" name="Picture 3"/>
          <p:cNvPicPr>
            <a:picLocks noChangeAspect="1" noChangeArrowheads="1"/>
          </p:cNvPicPr>
          <p:nvPr/>
        </p:nvPicPr>
        <p:blipFill>
          <a:blip r:embed="rId19" cstate="print"/>
          <a:srcRect/>
          <a:stretch>
            <a:fillRect/>
          </a:stretch>
        </p:blipFill>
        <p:spPr bwMode="auto">
          <a:xfrm>
            <a:off x="3086381" y="5128810"/>
            <a:ext cx="642058" cy="455192"/>
          </a:xfrm>
          <a:prstGeom prst="rect">
            <a:avLst/>
          </a:prstGeom>
          <a:noFill/>
          <a:ln w="9525">
            <a:noFill/>
            <a:miter lim="800000"/>
            <a:headEnd/>
            <a:tailEnd/>
          </a:ln>
        </p:spPr>
      </p:pic>
      <p:sp>
        <p:nvSpPr>
          <p:cNvPr id="82" name="1357155402"/>
          <p:cNvSpPr/>
          <p:nvPr/>
        </p:nvSpPr>
        <p:spPr>
          <a:xfrm>
            <a:off x="2780928" y="5547201"/>
            <a:ext cx="1086156" cy="307777"/>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700" dirty="0" smtClean="0">
                <a:solidFill>
                  <a:prstClr val="black"/>
                </a:solidFill>
                <a:latin typeface="Arial" panose="020B0604020202020204" pitchFamily="34" charset="0"/>
                <a:ea typeface="微软雅黑"/>
                <a:cs typeface="微软雅黑"/>
              </a:rPr>
              <a:t>Automatic household meter reading</a:t>
            </a:r>
            <a:endParaRPr kumimoji="1" lang="zh-CN" altLang="en-US" sz="700" dirty="0">
              <a:solidFill>
                <a:prstClr val="black"/>
              </a:solidFill>
              <a:latin typeface="Arial" panose="020B0604020202020204" pitchFamily="34" charset="0"/>
              <a:ea typeface="微软雅黑"/>
              <a:cs typeface="微软雅黑"/>
            </a:endParaRPr>
          </a:p>
        </p:txBody>
      </p:sp>
      <p:pic>
        <p:nvPicPr>
          <p:cNvPr id="5" name="图片 4"/>
          <p:cNvPicPr>
            <a:picLocks noChangeAspect="1"/>
          </p:cNvPicPr>
          <p:nvPr/>
        </p:nvPicPr>
        <p:blipFill>
          <a:blip r:embed="rId20" cstate="print">
            <a:lum bright="36000" contrast="2000"/>
          </a:blip>
          <a:stretch>
            <a:fillRect/>
          </a:stretch>
        </p:blipFill>
        <p:spPr>
          <a:xfrm>
            <a:off x="3822422" y="5222794"/>
            <a:ext cx="1942674" cy="467680"/>
          </a:xfrm>
          <a:prstGeom prst="rect">
            <a:avLst/>
          </a:prstGeom>
        </p:spPr>
      </p:pic>
      <p:sp>
        <p:nvSpPr>
          <p:cNvPr id="83" name="395259456"/>
          <p:cNvSpPr/>
          <p:nvPr/>
        </p:nvSpPr>
        <p:spPr>
          <a:xfrm>
            <a:off x="4133034" y="5632544"/>
            <a:ext cx="1296950" cy="200055"/>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700" dirty="0" smtClean="0">
                <a:solidFill>
                  <a:prstClr val="black"/>
                </a:solidFill>
                <a:latin typeface="Arial" panose="020B0604020202020204" pitchFamily="34" charset="0"/>
                <a:ea typeface="微软雅黑"/>
                <a:cs typeface="微软雅黑"/>
              </a:rPr>
              <a:t>River hydrology monitoring</a:t>
            </a:r>
            <a:endParaRPr kumimoji="1" lang="zh-CN" altLang="en-US" sz="700" dirty="0">
              <a:solidFill>
                <a:prstClr val="black"/>
              </a:solidFill>
              <a:latin typeface="Arial" panose="020B0604020202020204" pitchFamily="34" charset="0"/>
              <a:ea typeface="微软雅黑"/>
              <a:cs typeface="微软雅黑"/>
            </a:endParaRPr>
          </a:p>
        </p:txBody>
      </p:sp>
      <p:grpSp>
        <p:nvGrpSpPr>
          <p:cNvPr id="63" name="组合 62"/>
          <p:cNvGrpSpPr/>
          <p:nvPr/>
        </p:nvGrpSpPr>
        <p:grpSpPr>
          <a:xfrm>
            <a:off x="5062045" y="5168827"/>
            <a:ext cx="553931" cy="260333"/>
            <a:chOff x="4625745" y="4419596"/>
            <a:chExt cx="690279" cy="385520"/>
          </a:xfrm>
        </p:grpSpPr>
        <p:pic>
          <p:nvPicPr>
            <p:cNvPr id="64" name="Picture 2"/>
            <p:cNvPicPr>
              <a:picLocks noChangeAspect="1" noChangeArrowheads="1"/>
            </p:cNvPicPr>
            <p:nvPr/>
          </p:nvPicPr>
          <p:blipFill rotWithShape="1">
            <a:blip r:embed="rId11" cstate="print">
              <a:clrChange>
                <a:clrFrom>
                  <a:srgbClr val="FFFFFF"/>
                </a:clrFrom>
                <a:clrTo>
                  <a:srgbClr val="FFFFFF">
                    <a:alpha val="0"/>
                  </a:srgbClr>
                </a:clrTo>
              </a:clrChange>
            </a:blip>
            <a:srcRect l="19484" t="23532" r="47393" b="20906"/>
            <a:stretch/>
          </p:blipFill>
          <p:spPr bwMode="auto">
            <a:xfrm>
              <a:off x="4625745" y="4419596"/>
              <a:ext cx="324869" cy="357511"/>
            </a:xfrm>
            <a:prstGeom prst="rect">
              <a:avLst/>
            </a:prstGeom>
            <a:noFill/>
            <a:ln w="9525">
              <a:noFill/>
              <a:miter lim="800000"/>
              <a:headEnd/>
              <a:tailEnd/>
            </a:ln>
            <a:effectLst>
              <a:outerShdw blurRad="63500" sx="102000" sy="102000" algn="ctr" rotWithShape="0">
                <a:prstClr val="black">
                  <a:alpha val="80000"/>
                </a:prstClr>
              </a:outerShdw>
            </a:effectLst>
          </p:spPr>
        </p:pic>
        <p:pic>
          <p:nvPicPr>
            <p:cNvPr id="68" name="图片 67"/>
            <p:cNvPicPr>
              <a:picLocks noChangeAspect="1"/>
            </p:cNvPicPr>
            <p:nvPr/>
          </p:nvPicPr>
          <p:blipFill>
            <a:blip r:embed="rId12" cstate="print">
              <a:extLst>
                <a:ext uri="{BEBA8EAE-BF5A-486C-A8C5-ECC9F3942E4B}">
                  <a14:imgProps xmlns:a14="http://schemas.microsoft.com/office/drawing/2010/main" xmlns="">
                    <a14:imgLayer r:embed="rId13">
                      <a14:imgEffect>
                        <a14:backgroundRemoval t="0" b="96517" l="0" r="100000"/>
                      </a14:imgEffect>
                    </a14:imgLayer>
                  </a14:imgProps>
                </a:ext>
              </a:extLst>
            </a:blip>
            <a:stretch>
              <a:fillRect/>
            </a:stretch>
          </p:blipFill>
          <p:spPr>
            <a:xfrm flipH="1">
              <a:off x="4903161" y="4580852"/>
              <a:ext cx="412863" cy="224264"/>
            </a:xfrm>
            <a:prstGeom prst="rect">
              <a:avLst/>
            </a:prstGeom>
          </p:spPr>
        </p:pic>
      </p:grpSp>
      <p:sp>
        <p:nvSpPr>
          <p:cNvPr id="70" name="752545096"/>
          <p:cNvSpPr/>
          <p:nvPr/>
        </p:nvSpPr>
        <p:spPr>
          <a:xfrm>
            <a:off x="5195592" y="4999166"/>
            <a:ext cx="782332" cy="307777"/>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700" dirty="0" smtClean="0">
                <a:solidFill>
                  <a:prstClr val="black"/>
                </a:solidFill>
                <a:latin typeface="Arial" panose="020B0604020202020204" pitchFamily="34" charset="0"/>
                <a:ea typeface="微软雅黑"/>
                <a:cs typeface="微软雅黑"/>
              </a:rPr>
              <a:t>eLTE-U video backhaul</a:t>
            </a:r>
            <a:endParaRPr kumimoji="1" lang="zh-CN" altLang="en-US" sz="700" dirty="0">
              <a:solidFill>
                <a:prstClr val="black"/>
              </a:solidFill>
              <a:latin typeface="Arial" panose="020B0604020202020204" pitchFamily="34" charset="0"/>
              <a:ea typeface="微软雅黑"/>
              <a:cs typeface="微软雅黑"/>
            </a:endParaRPr>
          </a:p>
        </p:txBody>
      </p:sp>
      <p:sp>
        <p:nvSpPr>
          <p:cNvPr id="71" name="265176881"/>
          <p:cNvSpPr/>
          <p:nvPr/>
        </p:nvSpPr>
        <p:spPr>
          <a:xfrm>
            <a:off x="4004771" y="4968637"/>
            <a:ext cx="638840" cy="415498"/>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700" dirty="0" smtClean="0">
                <a:solidFill>
                  <a:prstClr val="black"/>
                </a:solidFill>
                <a:latin typeface="Arial" panose="020B0604020202020204" pitchFamily="34" charset="0"/>
                <a:ea typeface="微软雅黑"/>
                <a:cs typeface="微软雅黑"/>
              </a:rPr>
              <a:t>Watermark data reporting</a:t>
            </a:r>
            <a:endParaRPr kumimoji="1" lang="zh-CN" altLang="en-US" sz="700" dirty="0">
              <a:solidFill>
                <a:prstClr val="black"/>
              </a:solidFill>
              <a:latin typeface="Arial" panose="020B0604020202020204" pitchFamily="34" charset="0"/>
              <a:ea typeface="微软雅黑"/>
              <a:cs typeface="微软雅黑"/>
            </a:endParaRPr>
          </a:p>
        </p:txBody>
      </p:sp>
      <p:sp>
        <p:nvSpPr>
          <p:cNvPr id="72" name="1542694956"/>
          <p:cNvSpPr/>
          <p:nvPr/>
        </p:nvSpPr>
        <p:spPr>
          <a:xfrm>
            <a:off x="4488807" y="4966490"/>
            <a:ext cx="638840" cy="415498"/>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700" dirty="0" smtClean="0">
                <a:solidFill>
                  <a:prstClr val="black"/>
                </a:solidFill>
                <a:latin typeface="Arial" panose="020B0604020202020204" pitchFamily="34" charset="0"/>
                <a:ea typeface="微软雅黑"/>
                <a:cs typeface="微软雅黑"/>
              </a:rPr>
              <a:t>Water quality data reporting</a:t>
            </a:r>
            <a:endParaRPr kumimoji="1" lang="zh-CN" altLang="en-US" sz="700" dirty="0">
              <a:solidFill>
                <a:prstClr val="black"/>
              </a:solidFill>
              <a:latin typeface="Arial" panose="020B0604020202020204" pitchFamily="34" charset="0"/>
              <a:ea typeface="微软雅黑"/>
              <a:cs typeface="微软雅黑"/>
            </a:endParaRPr>
          </a:p>
        </p:txBody>
      </p:sp>
      <p:pic>
        <p:nvPicPr>
          <p:cNvPr id="73" name="图片 72"/>
          <p:cNvPicPr>
            <a:picLocks noChangeAspect="1"/>
          </p:cNvPicPr>
          <p:nvPr/>
        </p:nvPicPr>
        <p:blipFill rotWithShape="1">
          <a:blip r:embed="rId14" cstate="print">
            <a:extLst>
              <a:ext uri="{BEBA8EAE-BF5A-486C-A8C5-ECC9F3942E4B}">
                <a14:imgProps xmlns:a14="http://schemas.microsoft.com/office/drawing/2010/main" xmlns="">
                  <a14:imgLayer r:embed="rId15">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a14="http://schemas.microsoft.com/office/drawing/2010/main" xmlns="" val="0"/>
              </a:ext>
            </a:extLst>
          </a:blip>
          <a:srcRect/>
          <a:stretch/>
        </p:blipFill>
        <p:spPr>
          <a:xfrm rot="13765517">
            <a:off x="4911916" y="4888599"/>
            <a:ext cx="201198" cy="227182"/>
          </a:xfrm>
          <a:prstGeom prst="rect">
            <a:avLst/>
          </a:prstGeom>
        </p:spPr>
      </p:pic>
      <p:grpSp>
        <p:nvGrpSpPr>
          <p:cNvPr id="74" name="组合 73"/>
          <p:cNvGrpSpPr/>
          <p:nvPr/>
        </p:nvGrpSpPr>
        <p:grpSpPr>
          <a:xfrm>
            <a:off x="3898622" y="5064637"/>
            <a:ext cx="170461" cy="576064"/>
            <a:chOff x="2141037" y="6516216"/>
            <a:chExt cx="762000" cy="2838450"/>
          </a:xfrm>
        </p:grpSpPr>
        <p:pic>
          <p:nvPicPr>
            <p:cNvPr id="1026" name="Picture 2"/>
            <p:cNvPicPr>
              <a:picLocks noChangeAspect="1" noChangeArrowheads="1"/>
            </p:cNvPicPr>
            <p:nvPr/>
          </p:nvPicPr>
          <p:blipFill>
            <a:blip r:embed="rId21" cstate="print"/>
            <a:srcRect/>
            <a:stretch>
              <a:fillRect/>
            </a:stretch>
          </p:blipFill>
          <p:spPr bwMode="auto">
            <a:xfrm>
              <a:off x="2141037" y="6516216"/>
              <a:ext cx="762000" cy="885825"/>
            </a:xfrm>
            <a:prstGeom prst="rect">
              <a:avLst/>
            </a:prstGeom>
            <a:noFill/>
            <a:ln w="9525">
              <a:noFill/>
              <a:miter lim="800000"/>
              <a:headEnd/>
              <a:tailEnd/>
            </a:ln>
          </p:spPr>
        </p:pic>
        <p:pic>
          <p:nvPicPr>
            <p:cNvPr id="1027" name="Picture 3"/>
            <p:cNvPicPr>
              <a:picLocks noChangeAspect="1" noChangeArrowheads="1"/>
            </p:cNvPicPr>
            <p:nvPr/>
          </p:nvPicPr>
          <p:blipFill>
            <a:blip r:embed="rId22" cstate="print"/>
            <a:srcRect/>
            <a:stretch>
              <a:fillRect/>
            </a:stretch>
          </p:blipFill>
          <p:spPr bwMode="auto">
            <a:xfrm>
              <a:off x="2374399" y="7402041"/>
              <a:ext cx="295275" cy="1952625"/>
            </a:xfrm>
            <a:prstGeom prst="rect">
              <a:avLst/>
            </a:prstGeom>
            <a:noFill/>
            <a:ln w="9525">
              <a:noFill/>
              <a:miter lim="800000"/>
              <a:headEnd/>
              <a:tailEnd/>
            </a:ln>
          </p:spPr>
        </p:pic>
      </p:grpSp>
      <p:pic>
        <p:nvPicPr>
          <p:cNvPr id="1028" name="Picture 4"/>
          <p:cNvPicPr>
            <a:picLocks noChangeAspect="1" noChangeArrowheads="1"/>
          </p:cNvPicPr>
          <p:nvPr/>
        </p:nvPicPr>
        <p:blipFill>
          <a:blip r:embed="rId23" cstate="print"/>
          <a:srcRect/>
          <a:stretch>
            <a:fillRect/>
          </a:stretch>
        </p:blipFill>
        <p:spPr bwMode="auto">
          <a:xfrm>
            <a:off x="4547618" y="5328002"/>
            <a:ext cx="147079" cy="215366"/>
          </a:xfrm>
          <a:prstGeom prst="rect">
            <a:avLst/>
          </a:prstGeom>
          <a:noFill/>
          <a:ln w="9525">
            <a:noFill/>
            <a:miter lim="800000"/>
            <a:headEnd/>
            <a:tailEnd/>
          </a:ln>
        </p:spPr>
      </p:pic>
      <p:pic>
        <p:nvPicPr>
          <p:cNvPr id="1031" name="Picture 7"/>
          <p:cNvPicPr>
            <a:picLocks noChangeAspect="1" noChangeArrowheads="1"/>
          </p:cNvPicPr>
          <p:nvPr/>
        </p:nvPicPr>
        <p:blipFill>
          <a:blip r:embed="rId24" cstate="print"/>
          <a:srcRect/>
          <a:stretch>
            <a:fillRect/>
          </a:stretch>
        </p:blipFill>
        <p:spPr bwMode="auto">
          <a:xfrm>
            <a:off x="3216770" y="3492877"/>
            <a:ext cx="889415" cy="430147"/>
          </a:xfrm>
          <a:prstGeom prst="rect">
            <a:avLst/>
          </a:prstGeom>
          <a:noFill/>
          <a:ln w="9525">
            <a:noFill/>
            <a:miter lim="800000"/>
            <a:headEnd/>
            <a:tailEnd/>
          </a:ln>
        </p:spPr>
      </p:pic>
      <p:sp>
        <p:nvSpPr>
          <p:cNvPr id="76" name="2072918052"/>
          <p:cNvSpPr/>
          <p:nvPr/>
        </p:nvSpPr>
        <p:spPr>
          <a:xfrm>
            <a:off x="3013002" y="3934450"/>
            <a:ext cx="1296950" cy="307777"/>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700" dirty="0" smtClean="0">
                <a:solidFill>
                  <a:prstClr val="black"/>
                </a:solidFill>
                <a:latin typeface="Arial" panose="020B0604020202020204" pitchFamily="34" charset="0"/>
                <a:ea typeface="微软雅黑"/>
                <a:cs typeface="微软雅黑"/>
              </a:rPr>
              <a:t>Intelligent remote meter reading system</a:t>
            </a:r>
            <a:endParaRPr kumimoji="1" lang="zh-CN" altLang="en-US" sz="700" dirty="0">
              <a:solidFill>
                <a:prstClr val="black"/>
              </a:solidFill>
              <a:latin typeface="Arial" panose="020B0604020202020204" pitchFamily="34" charset="0"/>
              <a:ea typeface="微软雅黑"/>
              <a:cs typeface="微软雅黑"/>
            </a:endParaRPr>
          </a:p>
        </p:txBody>
      </p:sp>
      <p:pic>
        <p:nvPicPr>
          <p:cNvPr id="1032" name="Picture 8"/>
          <p:cNvPicPr>
            <a:picLocks noChangeAspect="1" noChangeArrowheads="1"/>
          </p:cNvPicPr>
          <p:nvPr/>
        </p:nvPicPr>
        <p:blipFill>
          <a:blip r:embed="rId25" cstate="print"/>
          <a:srcRect/>
          <a:stretch>
            <a:fillRect/>
          </a:stretch>
        </p:blipFill>
        <p:spPr bwMode="auto">
          <a:xfrm>
            <a:off x="4476136" y="3505890"/>
            <a:ext cx="1270298" cy="404120"/>
          </a:xfrm>
          <a:prstGeom prst="rect">
            <a:avLst/>
          </a:prstGeom>
          <a:noFill/>
          <a:ln w="9525">
            <a:noFill/>
            <a:miter lim="800000"/>
            <a:headEnd/>
            <a:tailEnd/>
          </a:ln>
        </p:spPr>
      </p:pic>
      <p:sp>
        <p:nvSpPr>
          <p:cNvPr id="78" name="1870376549"/>
          <p:cNvSpPr/>
          <p:nvPr/>
        </p:nvSpPr>
        <p:spPr>
          <a:xfrm>
            <a:off x="4293096" y="3934450"/>
            <a:ext cx="1636378" cy="307777"/>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700" dirty="0" smtClean="0">
                <a:solidFill>
                  <a:prstClr val="black"/>
                </a:solidFill>
                <a:latin typeface="Arial" panose="020B0604020202020204" pitchFamily="34" charset="0"/>
                <a:ea typeface="微软雅黑"/>
                <a:cs typeface="微软雅黑"/>
              </a:rPr>
              <a:t>Dynamic hydrology monitoring and river video surveillance</a:t>
            </a:r>
            <a:endParaRPr kumimoji="1" lang="zh-CN" altLang="en-US" sz="700" dirty="0">
              <a:solidFill>
                <a:prstClr val="black"/>
              </a:solidFill>
              <a:latin typeface="Arial" panose="020B0604020202020204" pitchFamily="34" charset="0"/>
              <a:ea typeface="微软雅黑"/>
              <a:cs typeface="微软雅黑"/>
            </a:endParaRPr>
          </a:p>
        </p:txBody>
      </p:sp>
      <p:sp>
        <p:nvSpPr>
          <p:cNvPr id="79" name="矩形 78"/>
          <p:cNvSpPr/>
          <p:nvPr/>
        </p:nvSpPr>
        <p:spPr bwMode="auto">
          <a:xfrm>
            <a:off x="59864" y="6191344"/>
            <a:ext cx="4233232" cy="2268000"/>
          </a:xfrm>
          <a:prstGeom prst="rect">
            <a:avLst/>
          </a:prstGeom>
          <a:noFill/>
          <a:ln w="9525" cap="flat" cmpd="sng" algn="ctr">
            <a:solidFill>
              <a:schemeClr val="tx2">
                <a:lumMod val="5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tabLst/>
            </a:pPr>
            <a:endParaRPr lang="zh-CN" altLang="en-US" dirty="0" smtClean="0">
              <a:latin typeface="Arial" panose="020B0604020202020204" pitchFamily="34" charset="0"/>
              <a:ea typeface="微软雅黑" panose="020B0503020204020204" pitchFamily="34" charset="-122"/>
              <a:cs typeface="Arial" panose="020B0604020202020204" pitchFamily="34" charset="0"/>
            </a:endParaRPr>
          </a:p>
        </p:txBody>
      </p:sp>
      <p:cxnSp>
        <p:nvCxnSpPr>
          <p:cNvPr id="81" name="直接连接符 80"/>
          <p:cNvCxnSpPr/>
          <p:nvPr/>
        </p:nvCxnSpPr>
        <p:spPr>
          <a:xfrm flipV="1">
            <a:off x="115481" y="7680280"/>
            <a:ext cx="3851791" cy="2"/>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直接连接符 83"/>
          <p:cNvCxnSpPr/>
          <p:nvPr/>
        </p:nvCxnSpPr>
        <p:spPr>
          <a:xfrm flipV="1">
            <a:off x="145630" y="6926292"/>
            <a:ext cx="3851791" cy="2"/>
          </a:xfrm>
          <a:prstGeom prst="line">
            <a:avLst/>
          </a:prstGeom>
        </p:spPr>
        <p:style>
          <a:lnRef idx="1">
            <a:schemeClr val="accent1"/>
          </a:lnRef>
          <a:fillRef idx="0">
            <a:schemeClr val="accent1"/>
          </a:fillRef>
          <a:effectRef idx="0">
            <a:schemeClr val="accent1"/>
          </a:effectRef>
          <a:fontRef idx="minor">
            <a:schemeClr val="tx1"/>
          </a:fontRef>
        </p:style>
      </p:cxnSp>
      <p:sp>
        <p:nvSpPr>
          <p:cNvPr id="87" name="1333215299"/>
          <p:cNvSpPr>
            <a:spLocks noChangeArrowheads="1"/>
          </p:cNvSpPr>
          <p:nvPr>
            <p:custDataLst>
              <p:tags r:id="rId3"/>
            </p:custDataLst>
          </p:nvPr>
        </p:nvSpPr>
        <p:spPr bwMode="auto">
          <a:xfrm>
            <a:off x="4226505" y="6326609"/>
            <a:ext cx="2640777" cy="1885156"/>
          </a:xfrm>
          <a:prstGeom prst="rect">
            <a:avLst/>
          </a:prstGeom>
          <a:noFill/>
          <a:ln w="9525">
            <a:noFill/>
            <a:miter lim="800000"/>
            <a:headEnd/>
            <a:tailEnd/>
          </a:ln>
        </p:spPr>
        <p:txBody>
          <a:bodyPr wrap="square" lIns="121944" tIns="60972" rIns="121944" bIns="60972">
            <a:spAutoFit/>
          </a:bodyPr>
          <a:lstStyle/>
          <a:p>
            <a:pPr marL="156665" indent="-156665" defTabSz="912466" eaLnBrk="0" hangingPunct="0">
              <a:spcAft>
                <a:spcPts val="100"/>
              </a:spcAft>
              <a:buClr>
                <a:srgbClr val="777777"/>
              </a:buClr>
              <a:buSzPct val="100000"/>
            </a:pPr>
            <a:r>
              <a:rPr lang="en-US" altLang="zh-CN" sz="900" b="1" dirty="0" smtClean="0">
                <a:solidFill>
                  <a:srgbClr val="C00000"/>
                </a:solidFill>
                <a:latin typeface="Arial" pitchFamily="34" charset="0"/>
                <a:cs typeface="Arial" pitchFamily="34" charset="0"/>
              </a:rPr>
              <a:t>Customer pain points</a:t>
            </a:r>
            <a:endParaRPr lang="en-US" altLang="zh-CN" sz="900" b="1" dirty="0">
              <a:solidFill>
                <a:srgbClr val="C00000"/>
              </a:solidFill>
              <a:latin typeface="Arial" pitchFamily="34" charset="0"/>
              <a:cs typeface="Arial" pitchFamily="34" charset="0"/>
            </a:endParaRPr>
          </a:p>
          <a:p>
            <a:pPr marL="90488" indent="-90488">
              <a:spcAft>
                <a:spcPts val="100"/>
              </a:spcAft>
              <a:buClr>
                <a:schemeClr val="tx1"/>
              </a:buClr>
              <a:buSzPct val="100000"/>
              <a:buFont typeface="Arial" panose="020B0604020202020204" pitchFamily="34" charset="0"/>
              <a:buChar char="•"/>
              <a:tabLst>
                <a:tab pos="239232" algn="l"/>
              </a:tabLst>
            </a:pPr>
            <a:r>
              <a:rPr lang="en-US" altLang="zh-CN" sz="750" dirty="0" smtClean="0">
                <a:latin typeface="Arial" panose="020B0604020202020204" pitchFamily="34" charset="0"/>
                <a:ea typeface="微软雅黑" pitchFamily="34" charset="-122"/>
              </a:rPr>
              <a:t>In the modern agriculture, </a:t>
            </a:r>
            <a:r>
              <a:rPr lang="en-US" altLang="zh-CN" sz="750" b="1" dirty="0" smtClean="0">
                <a:solidFill>
                  <a:srgbClr val="FF0000"/>
                </a:solidFill>
                <a:latin typeface="Arial" panose="020B0604020202020204" pitchFamily="34" charset="0"/>
                <a:ea typeface="微软雅黑" pitchFamily="34" charset="-122"/>
              </a:rPr>
              <a:t>big data</a:t>
            </a:r>
            <a:r>
              <a:rPr lang="en-US" altLang="zh-CN" sz="750" dirty="0" smtClean="0">
                <a:latin typeface="Arial" panose="020B0604020202020204" pitchFamily="34" charset="0"/>
                <a:ea typeface="微软雅黑" pitchFamily="34" charset="-122"/>
              </a:rPr>
              <a:t>, rather than individual experience, should be used to obtain accurate information in real time and make decisions.</a:t>
            </a:r>
            <a:endParaRPr lang="zh-CN" altLang="en-US" sz="750" dirty="0" smtClean="0">
              <a:latin typeface="Arial" panose="020B0604020202020204" pitchFamily="34" charset="0"/>
              <a:ea typeface="微软雅黑" pitchFamily="34" charset="-122"/>
            </a:endParaRPr>
          </a:p>
          <a:p>
            <a:pPr marL="90488" indent="-90488">
              <a:spcAft>
                <a:spcPts val="100"/>
              </a:spcAft>
              <a:buClr>
                <a:schemeClr val="tx1"/>
              </a:buClr>
              <a:buSzPct val="100000"/>
              <a:buFont typeface="Arial" panose="020B0604020202020204" pitchFamily="34" charset="0"/>
              <a:buChar char="•"/>
              <a:tabLst>
                <a:tab pos="239232" algn="l"/>
              </a:tabLst>
            </a:pPr>
            <a:r>
              <a:rPr lang="en-US" altLang="zh-CN" sz="750" dirty="0" smtClean="0">
                <a:latin typeface="Arial" panose="020B0604020202020204" pitchFamily="34" charset="0"/>
                <a:ea typeface="微软雅黑" pitchFamily="34" charset="-122"/>
              </a:rPr>
              <a:t>Wired sensors are deployed to collect data, which incurs </a:t>
            </a:r>
            <a:r>
              <a:rPr lang="en-US" altLang="zh-CN" sz="750" b="1" dirty="0" smtClean="0">
                <a:solidFill>
                  <a:srgbClr val="FF0000"/>
                </a:solidFill>
                <a:latin typeface="Arial" panose="020B0604020202020204" pitchFamily="34" charset="0"/>
                <a:ea typeface="微软雅黑" pitchFamily="34" charset="-122"/>
              </a:rPr>
              <a:t>high costs, and are difficult to maintain.</a:t>
            </a:r>
          </a:p>
          <a:p>
            <a:pPr marL="156665" indent="-156665" defTabSz="912466" eaLnBrk="0" hangingPunct="0">
              <a:spcAft>
                <a:spcPts val="100"/>
              </a:spcAft>
              <a:buClr>
                <a:srgbClr val="777777"/>
              </a:buClr>
              <a:buSzPct val="100000"/>
            </a:pPr>
            <a:r>
              <a:rPr lang="en-US" altLang="zh-CN" sz="900" b="1" dirty="0" smtClean="0">
                <a:solidFill>
                  <a:srgbClr val="C00000"/>
                </a:solidFill>
                <a:latin typeface="Arial" pitchFamily="34" charset="0"/>
                <a:cs typeface="Arial" pitchFamily="34" charset="0"/>
              </a:rPr>
              <a:t>Customer benefits</a:t>
            </a:r>
          </a:p>
          <a:p>
            <a:pPr marL="90488" indent="-90488">
              <a:spcAft>
                <a:spcPts val="100"/>
              </a:spcAft>
              <a:buClr>
                <a:schemeClr val="tx1"/>
              </a:buClr>
              <a:buSzPct val="100000"/>
              <a:buFont typeface="Arial" panose="020B0604020202020204" pitchFamily="34" charset="0"/>
              <a:buChar char="•"/>
              <a:tabLst>
                <a:tab pos="239232" algn="l"/>
              </a:tabLst>
            </a:pPr>
            <a:r>
              <a:rPr lang="en-US" altLang="zh-CN" sz="750" dirty="0" smtClean="0">
                <a:latin typeface="Arial" panose="020B0604020202020204" pitchFamily="34" charset="0"/>
                <a:ea typeface="微软雅黑" pitchFamily="34" charset="-122"/>
              </a:rPr>
              <a:t>Wireless data collection devices are used. The devices are portable and easy to store. The devices can be installed in shelters and greenhouses in any condition.</a:t>
            </a:r>
            <a:endParaRPr lang="en-US" altLang="zh-CN" sz="750" dirty="0" smtClean="0">
              <a:latin typeface="Arial" panose="020B0604020202020204" pitchFamily="34" charset="0"/>
              <a:ea typeface="微软雅黑" pitchFamily="34" charset="-122"/>
              <a:sym typeface="Wingdings" panose="05000000000000000000" pitchFamily="2" charset="2"/>
            </a:endParaRPr>
          </a:p>
          <a:p>
            <a:pPr marL="90488" indent="-90488">
              <a:spcAft>
                <a:spcPts val="100"/>
              </a:spcAft>
              <a:buClr>
                <a:schemeClr val="tx1"/>
              </a:buClr>
              <a:buSzPct val="100000"/>
              <a:buFont typeface="Arial" panose="020B0604020202020204" pitchFamily="34" charset="0"/>
              <a:buChar char="•"/>
              <a:tabLst>
                <a:tab pos="239232" algn="l"/>
              </a:tabLst>
            </a:pPr>
            <a:r>
              <a:rPr lang="en-US" altLang="zh-CN" sz="750" dirty="0" smtClean="0">
                <a:latin typeface="Arial" panose="020B0604020202020204" pitchFamily="34" charset="0"/>
                <a:ea typeface="微软雅黑" pitchFamily="34" charset="-122"/>
                <a:sym typeface="Wingdings" panose="05000000000000000000" pitchFamily="2" charset="2"/>
              </a:rPr>
              <a:t>Precise farming and complete information collected by the IoT help make scientific decisions and improve the production.</a:t>
            </a:r>
          </a:p>
          <a:p>
            <a:pPr>
              <a:spcAft>
                <a:spcPts val="100"/>
              </a:spcAft>
              <a:buClr>
                <a:schemeClr val="tx1"/>
              </a:buClr>
              <a:buSzPct val="100000"/>
              <a:tabLst>
                <a:tab pos="239232" algn="l"/>
              </a:tabLst>
            </a:pPr>
            <a:r>
              <a:rPr lang="en-US" altLang="zh-CN" sz="900" b="1" dirty="0" smtClean="0">
                <a:solidFill>
                  <a:srgbClr val="C00000"/>
                </a:solidFill>
                <a:latin typeface="Arial" pitchFamily="34" charset="0"/>
                <a:cs typeface="Arial" pitchFamily="34" charset="0"/>
              </a:rPr>
              <a:t>Maturity: </a:t>
            </a:r>
            <a:r>
              <a:rPr lang="en-US" altLang="zh-CN" sz="750" dirty="0" smtClean="0">
                <a:latin typeface="Arial" pitchFamily="34" charset="0"/>
                <a:cs typeface="Arial" pitchFamily="34" charset="0"/>
              </a:rPr>
              <a:t>in pilot in China </a:t>
            </a:r>
            <a:endParaRPr lang="en-US" altLang="zh-CN" sz="750" dirty="0">
              <a:latin typeface="Arial" panose="020B0604020202020204" pitchFamily="34" charset="0"/>
              <a:ea typeface="微软雅黑" pitchFamily="34" charset="-122"/>
            </a:endParaRPr>
          </a:p>
        </p:txBody>
      </p:sp>
      <p:grpSp>
        <p:nvGrpSpPr>
          <p:cNvPr id="92" name="组合 91"/>
          <p:cNvGrpSpPr/>
          <p:nvPr/>
        </p:nvGrpSpPr>
        <p:grpSpPr>
          <a:xfrm>
            <a:off x="871043" y="6933762"/>
            <a:ext cx="2147287" cy="726060"/>
            <a:chOff x="955581" y="1650000"/>
            <a:chExt cx="2147287" cy="890441"/>
          </a:xfrm>
        </p:grpSpPr>
        <p:grpSp>
          <p:nvGrpSpPr>
            <p:cNvPr id="93" name="组合 1"/>
            <p:cNvGrpSpPr/>
            <p:nvPr/>
          </p:nvGrpSpPr>
          <p:grpSpPr>
            <a:xfrm>
              <a:off x="955581" y="1878240"/>
              <a:ext cx="2147287" cy="662201"/>
              <a:chOff x="955581" y="1878240"/>
              <a:chExt cx="2147287" cy="662201"/>
            </a:xfrm>
          </p:grpSpPr>
          <p:sp>
            <p:nvSpPr>
              <p:cNvPr id="96" name="Freeform 27"/>
              <p:cNvSpPr>
                <a:spLocks noEditPoints="1"/>
              </p:cNvSpPr>
              <p:nvPr/>
            </p:nvSpPr>
            <p:spPr bwMode="auto">
              <a:xfrm>
                <a:off x="1061034" y="1878240"/>
                <a:ext cx="1875358" cy="571622"/>
              </a:xfrm>
              <a:custGeom>
                <a:avLst/>
                <a:gdLst>
                  <a:gd name="T0" fmla="*/ 2147483647 w 16443"/>
                  <a:gd name="T1" fmla="*/ 2147483647 h 11487"/>
                  <a:gd name="T2" fmla="*/ 2147483647 w 16443"/>
                  <a:gd name="T3" fmla="*/ 2147483647 h 11487"/>
                  <a:gd name="T4" fmla="*/ 2147483647 w 16443"/>
                  <a:gd name="T5" fmla="*/ 2147483647 h 11487"/>
                  <a:gd name="T6" fmla="*/ 2147483647 w 16443"/>
                  <a:gd name="T7" fmla="*/ 2147483647 h 11487"/>
                  <a:gd name="T8" fmla="*/ 2147483647 w 16443"/>
                  <a:gd name="T9" fmla="*/ 2147483647 h 11487"/>
                  <a:gd name="T10" fmla="*/ 2147483647 w 16443"/>
                  <a:gd name="T11" fmla="*/ 2147483647 h 11487"/>
                  <a:gd name="T12" fmla="*/ 2147483647 w 16443"/>
                  <a:gd name="T13" fmla="*/ 2147483647 h 11487"/>
                  <a:gd name="T14" fmla="*/ 2147483647 w 16443"/>
                  <a:gd name="T15" fmla="*/ 2147483647 h 11487"/>
                  <a:gd name="T16" fmla="*/ 2147483647 w 16443"/>
                  <a:gd name="T17" fmla="*/ 2147483647 h 11487"/>
                  <a:gd name="T18" fmla="*/ 2147483647 w 16443"/>
                  <a:gd name="T19" fmla="*/ 2147483647 h 11487"/>
                  <a:gd name="T20" fmla="*/ 2147483647 w 16443"/>
                  <a:gd name="T21" fmla="*/ 2147483647 h 11487"/>
                  <a:gd name="T22" fmla="*/ 2147483647 w 16443"/>
                  <a:gd name="T23" fmla="*/ 2147483647 h 11487"/>
                  <a:gd name="T24" fmla="*/ 2147483647 w 16443"/>
                  <a:gd name="T25" fmla="*/ 2147483647 h 11487"/>
                  <a:gd name="T26" fmla="*/ 2147483647 w 16443"/>
                  <a:gd name="T27" fmla="*/ 2147483647 h 11487"/>
                  <a:gd name="T28" fmla="*/ 2147483647 w 16443"/>
                  <a:gd name="T29" fmla="*/ 2147483647 h 11487"/>
                  <a:gd name="T30" fmla="*/ 2147483647 w 16443"/>
                  <a:gd name="T31" fmla="*/ 2147483647 h 11487"/>
                  <a:gd name="T32" fmla="*/ 2147483647 w 16443"/>
                  <a:gd name="T33" fmla="*/ 2147483647 h 11487"/>
                  <a:gd name="T34" fmla="*/ 2147483647 w 16443"/>
                  <a:gd name="T35" fmla="*/ 2147483647 h 11487"/>
                  <a:gd name="T36" fmla="*/ 2147483647 w 16443"/>
                  <a:gd name="T37" fmla="*/ 2147483647 h 11487"/>
                  <a:gd name="T38" fmla="*/ 2147483647 w 16443"/>
                  <a:gd name="T39" fmla="*/ 2147483647 h 11487"/>
                  <a:gd name="T40" fmla="*/ 2147483647 w 16443"/>
                  <a:gd name="T41" fmla="*/ 2147483647 h 11487"/>
                  <a:gd name="T42" fmla="*/ 2147483647 w 16443"/>
                  <a:gd name="T43" fmla="*/ 2147483647 h 11487"/>
                  <a:gd name="T44" fmla="*/ 2147483647 w 16443"/>
                  <a:gd name="T45" fmla="*/ 2147483647 h 11487"/>
                  <a:gd name="T46" fmla="*/ 2147483647 w 16443"/>
                  <a:gd name="T47" fmla="*/ 2147483647 h 11487"/>
                  <a:gd name="T48" fmla="*/ 2147483647 w 16443"/>
                  <a:gd name="T49" fmla="*/ 2147483647 h 11487"/>
                  <a:gd name="T50" fmla="*/ 2147483647 w 16443"/>
                  <a:gd name="T51" fmla="*/ 2147483647 h 11487"/>
                  <a:gd name="T52" fmla="*/ 2147483647 w 16443"/>
                  <a:gd name="T53" fmla="*/ 2147483647 h 11487"/>
                  <a:gd name="T54" fmla="*/ 2147483647 w 16443"/>
                  <a:gd name="T55" fmla="*/ 2147483647 h 11487"/>
                  <a:gd name="T56" fmla="*/ 2147483647 w 16443"/>
                  <a:gd name="T57" fmla="*/ 2147483647 h 11487"/>
                  <a:gd name="T58" fmla="*/ 2147483647 w 16443"/>
                  <a:gd name="T59" fmla="*/ 2147483647 h 11487"/>
                  <a:gd name="T60" fmla="*/ 2147483647 w 16443"/>
                  <a:gd name="T61" fmla="*/ 2147483647 h 11487"/>
                  <a:gd name="T62" fmla="*/ 2147483647 w 16443"/>
                  <a:gd name="T63" fmla="*/ 2147483647 h 11487"/>
                  <a:gd name="T64" fmla="*/ 2147483647 w 16443"/>
                  <a:gd name="T65" fmla="*/ 2147483647 h 11487"/>
                  <a:gd name="T66" fmla="*/ 2147483647 w 16443"/>
                  <a:gd name="T67" fmla="*/ 2147483647 h 11487"/>
                  <a:gd name="T68" fmla="*/ 2147483647 w 16443"/>
                  <a:gd name="T69" fmla="*/ 2147483647 h 11487"/>
                  <a:gd name="T70" fmla="*/ 2147483647 w 16443"/>
                  <a:gd name="T71" fmla="*/ 2147483647 h 11487"/>
                  <a:gd name="T72" fmla="*/ 2147483647 w 16443"/>
                  <a:gd name="T73" fmla="*/ 2147483647 h 11487"/>
                  <a:gd name="T74" fmla="*/ 2147483647 w 16443"/>
                  <a:gd name="T75" fmla="*/ 2147483647 h 11487"/>
                  <a:gd name="T76" fmla="*/ 2147483647 w 16443"/>
                  <a:gd name="T77" fmla="*/ 2147483647 h 11487"/>
                  <a:gd name="T78" fmla="*/ 2147483647 w 16443"/>
                  <a:gd name="T79" fmla="*/ 2147483647 h 11487"/>
                  <a:gd name="T80" fmla="*/ 2147483647 w 16443"/>
                  <a:gd name="T81" fmla="*/ 2147483647 h 11487"/>
                  <a:gd name="T82" fmla="*/ 2147483647 w 16443"/>
                  <a:gd name="T83" fmla="*/ 2147483647 h 11487"/>
                  <a:gd name="T84" fmla="*/ 2147483647 w 16443"/>
                  <a:gd name="T85" fmla="*/ 2147483647 h 11487"/>
                  <a:gd name="T86" fmla="*/ 2147483647 w 16443"/>
                  <a:gd name="T87" fmla="*/ 2147483647 h 11487"/>
                  <a:gd name="T88" fmla="*/ 2147483647 w 16443"/>
                  <a:gd name="T89" fmla="*/ 2147483647 h 11487"/>
                  <a:gd name="T90" fmla="*/ 2147483647 w 16443"/>
                  <a:gd name="T91" fmla="*/ 2147483647 h 11487"/>
                  <a:gd name="T92" fmla="*/ 2147483647 w 16443"/>
                  <a:gd name="T93" fmla="*/ 2147483647 h 11487"/>
                  <a:gd name="T94" fmla="*/ 2147483647 w 16443"/>
                  <a:gd name="T95" fmla="*/ 2147483647 h 11487"/>
                  <a:gd name="T96" fmla="*/ 2147483647 w 16443"/>
                  <a:gd name="T97" fmla="*/ 2147483647 h 11487"/>
                  <a:gd name="T98" fmla="*/ 2147483647 w 16443"/>
                  <a:gd name="T99" fmla="*/ 2147483647 h 11487"/>
                  <a:gd name="T100" fmla="*/ 2147483647 w 16443"/>
                  <a:gd name="T101" fmla="*/ 2147483647 h 11487"/>
                  <a:gd name="T102" fmla="*/ 2147483647 w 16443"/>
                  <a:gd name="T103" fmla="*/ 2147483647 h 11487"/>
                  <a:gd name="T104" fmla="*/ 2147483647 w 16443"/>
                  <a:gd name="T105" fmla="*/ 2147483647 h 11487"/>
                  <a:gd name="T106" fmla="*/ 2147483647 w 16443"/>
                  <a:gd name="T107" fmla="*/ 2147483647 h 11487"/>
                  <a:gd name="T108" fmla="*/ 2147483647 w 16443"/>
                  <a:gd name="T109" fmla="*/ 2147483647 h 11487"/>
                  <a:gd name="T110" fmla="*/ 2147483647 w 16443"/>
                  <a:gd name="T111" fmla="*/ 2147483647 h 11487"/>
                  <a:gd name="T112" fmla="*/ 2147483647 w 16443"/>
                  <a:gd name="T113" fmla="*/ 2147483647 h 1148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443"/>
                  <a:gd name="T172" fmla="*/ 0 h 11487"/>
                  <a:gd name="T173" fmla="*/ 16443 w 16443"/>
                  <a:gd name="T174" fmla="*/ 11487 h 1148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66FFFF"/>
              </a:solidFill>
              <a:ln>
                <a:noFill/>
              </a:ln>
            </p:spPr>
            <p:txBody>
              <a:bodyPr wrap="none" anchor="ctr"/>
              <a:lstStyle/>
              <a:p>
                <a:pPr eaLnBrk="1" hangingPunct="1">
                  <a:defRPr/>
                </a:pPr>
                <a:endParaRPr lang="zh-CN" altLang="en-US" sz="1800" dirty="0">
                  <a:solidFill>
                    <a:srgbClr val="000000"/>
                  </a:solidFill>
                  <a:latin typeface="Arial" panose="020B0604020202020204" pitchFamily="34" charset="0"/>
                </a:endParaRPr>
              </a:p>
            </p:txBody>
          </p:sp>
          <p:sp>
            <p:nvSpPr>
              <p:cNvPr id="97" name="TextBox 53"/>
              <p:cNvSpPr txBox="1">
                <a:spLocks noChangeArrowheads="1"/>
              </p:cNvSpPr>
              <p:nvPr/>
            </p:nvSpPr>
            <p:spPr bwMode="auto">
              <a:xfrm>
                <a:off x="955581" y="2030874"/>
                <a:ext cx="1316177" cy="509567"/>
              </a:xfrm>
              <a:prstGeom prst="rect">
                <a:avLst/>
              </a:prstGeom>
              <a:noFill/>
              <a:ln w="9525">
                <a:noFill/>
                <a:miter lim="800000"/>
                <a:headEnd/>
                <a:tailEnd/>
              </a:ln>
            </p:spPr>
            <p:txBody>
              <a:bodyPr wrap="square">
                <a:spAutoFit/>
              </a:bodyPr>
              <a:lstStyle/>
              <a:p>
                <a:pPr algn="ctr"/>
                <a:r>
                  <a:rPr lang="en-US" altLang="zh-CN" sz="1100" b="1" dirty="0" smtClean="0">
                    <a:latin typeface="Arial" panose="020B0604020202020204" pitchFamily="34" charset="0"/>
                    <a:ea typeface="微软雅黑" panose="020B0503020204020204" pitchFamily="34" charset="-122"/>
                  </a:rPr>
                  <a:t>eLTE-IoT</a:t>
                </a:r>
              </a:p>
              <a:p>
                <a:pPr algn="ctr"/>
                <a:r>
                  <a:rPr lang="en-US" altLang="zh-CN" sz="900" dirty="0" smtClean="0">
                    <a:latin typeface="Arial" panose="020B0604020202020204" pitchFamily="34" charset="0"/>
                    <a:ea typeface="微软雅黑" panose="020B0503020204020204" pitchFamily="34" charset="-122"/>
                  </a:rPr>
                  <a:t>ISM band</a:t>
                </a:r>
              </a:p>
            </p:txBody>
          </p:sp>
          <p:sp>
            <p:nvSpPr>
              <p:cNvPr id="99" name="TextBox 53"/>
              <p:cNvSpPr txBox="1">
                <a:spLocks noChangeArrowheads="1"/>
              </p:cNvSpPr>
              <p:nvPr/>
            </p:nvSpPr>
            <p:spPr bwMode="auto">
              <a:xfrm>
                <a:off x="1786691" y="2023866"/>
                <a:ext cx="1316177" cy="509567"/>
              </a:xfrm>
              <a:prstGeom prst="rect">
                <a:avLst/>
              </a:prstGeom>
              <a:noFill/>
              <a:ln w="9525">
                <a:noFill/>
                <a:miter lim="800000"/>
                <a:headEnd/>
                <a:tailEnd/>
              </a:ln>
            </p:spPr>
            <p:txBody>
              <a:bodyPr wrap="square">
                <a:spAutoFit/>
              </a:bodyPr>
              <a:lstStyle/>
              <a:p>
                <a:pPr algn="ctr"/>
                <a:r>
                  <a:rPr lang="en-US" altLang="zh-CN" sz="1100" b="1" dirty="0" smtClean="0">
                    <a:latin typeface="Arial" panose="020B0604020202020204" pitchFamily="34" charset="0"/>
                    <a:ea typeface="微软雅黑" panose="020B0503020204020204" pitchFamily="34" charset="-122"/>
                  </a:rPr>
                  <a:t>eLTE-U</a:t>
                </a:r>
              </a:p>
              <a:p>
                <a:pPr algn="ctr"/>
                <a:r>
                  <a:rPr lang="en-US" altLang="zh-CN" sz="900" dirty="0" smtClean="0">
                    <a:latin typeface="Arial" panose="020B0604020202020204" pitchFamily="34" charset="0"/>
                    <a:ea typeface="微软雅黑" panose="020B0503020204020204" pitchFamily="34" charset="-122"/>
                  </a:rPr>
                  <a:t>5.8 GHz</a:t>
                </a:r>
              </a:p>
            </p:txBody>
          </p:sp>
        </p:grpSp>
        <p:pic>
          <p:nvPicPr>
            <p:cNvPr id="94" name="Picture 2"/>
            <p:cNvPicPr>
              <a:picLocks noChangeAspect="1" noChangeArrowheads="1"/>
            </p:cNvPicPr>
            <p:nvPr/>
          </p:nvPicPr>
          <p:blipFill>
            <a:blip r:embed="rId8" cstate="email">
              <a:clrChange>
                <a:clrFrom>
                  <a:srgbClr val="FFFFFF"/>
                </a:clrFrom>
                <a:clrTo>
                  <a:srgbClr val="FFFFFF">
                    <a:alpha val="0"/>
                  </a:srgbClr>
                </a:clrTo>
              </a:clrChange>
            </a:blip>
            <a:srcRect/>
            <a:stretch>
              <a:fillRect/>
            </a:stretch>
          </p:blipFill>
          <p:spPr bwMode="auto">
            <a:xfrm>
              <a:off x="1425729" y="1650000"/>
              <a:ext cx="351001" cy="471719"/>
            </a:xfrm>
            <a:prstGeom prst="rect">
              <a:avLst/>
            </a:prstGeom>
            <a:noFill/>
            <a:ln w="9525">
              <a:noFill/>
              <a:miter lim="800000"/>
              <a:headEnd/>
              <a:tailEnd/>
            </a:ln>
            <a:effectLst/>
          </p:spPr>
        </p:pic>
        <p:pic>
          <p:nvPicPr>
            <p:cNvPr id="95" name="Picture 2"/>
            <p:cNvPicPr>
              <a:picLocks noChangeAspect="1" noChangeArrowheads="1"/>
            </p:cNvPicPr>
            <p:nvPr/>
          </p:nvPicPr>
          <p:blipFill>
            <a:blip r:embed="rId8" cstate="email">
              <a:clrChange>
                <a:clrFrom>
                  <a:srgbClr val="FFFFFF"/>
                </a:clrFrom>
                <a:clrTo>
                  <a:srgbClr val="FFFFFF">
                    <a:alpha val="0"/>
                  </a:srgbClr>
                </a:clrTo>
              </a:clrChange>
            </a:blip>
            <a:srcRect/>
            <a:stretch>
              <a:fillRect/>
            </a:stretch>
          </p:blipFill>
          <p:spPr bwMode="auto">
            <a:xfrm>
              <a:off x="2267347" y="1659659"/>
              <a:ext cx="351001" cy="471721"/>
            </a:xfrm>
            <a:prstGeom prst="rect">
              <a:avLst/>
            </a:prstGeom>
            <a:noFill/>
            <a:ln w="9525">
              <a:noFill/>
              <a:miter lim="800000"/>
              <a:headEnd/>
              <a:tailEnd/>
            </a:ln>
            <a:effectLst/>
          </p:spPr>
        </p:pic>
      </p:grpSp>
      <p:sp>
        <p:nvSpPr>
          <p:cNvPr id="106" name="223948078"/>
          <p:cNvSpPr/>
          <p:nvPr/>
        </p:nvSpPr>
        <p:spPr>
          <a:xfrm>
            <a:off x="3435522" y="7859151"/>
            <a:ext cx="813074" cy="320692"/>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en-US" altLang="zh-CN" sz="900" b="1" smtClean="0">
                <a:solidFill>
                  <a:srgbClr val="FFFFFF"/>
                </a:solidFill>
                <a:latin typeface="Arial" panose="020B0604020202020204" pitchFamily="34" charset="0"/>
                <a:ea typeface="微软雅黑" pitchFamily="34" charset="-122"/>
              </a:rPr>
              <a:t>Shandong</a:t>
            </a:r>
            <a:r>
              <a:rPr lang="en-US" altLang="zh-CN" sz="900" b="1" smtClean="0">
                <a:solidFill>
                  <a:prstClr val="white"/>
                </a:solidFill>
                <a:latin typeface="Arial" panose="020B0604020202020204" pitchFamily="34" charset="0"/>
                <a:ea typeface="微软雅黑" pitchFamily="34" charset="-122"/>
              </a:rPr>
              <a:t> </a:t>
            </a:r>
            <a:r>
              <a:rPr lang="en-US" altLang="zh-CN" sz="900" b="1" smtClean="0">
                <a:solidFill>
                  <a:srgbClr val="FFFFFF"/>
                </a:solidFill>
                <a:latin typeface="Arial" panose="020B0604020202020204" pitchFamily="34" charset="0"/>
                <a:ea typeface="微软雅黑" pitchFamily="34" charset="-122"/>
              </a:rPr>
              <a:t>Futong</a:t>
            </a:r>
            <a:endParaRPr lang="en-US" altLang="zh-CN" sz="900" b="1" dirty="0">
              <a:solidFill>
                <a:srgbClr val="FFFFFF"/>
              </a:solidFill>
              <a:latin typeface="Arial"/>
              <a:ea typeface="微软雅黑" pitchFamily="34" charset="-122"/>
            </a:endParaRPr>
          </a:p>
        </p:txBody>
      </p:sp>
      <p:sp>
        <p:nvSpPr>
          <p:cNvPr id="107" name="1421972074"/>
          <p:cNvSpPr/>
          <p:nvPr/>
        </p:nvSpPr>
        <p:spPr>
          <a:xfrm>
            <a:off x="3430759" y="6471384"/>
            <a:ext cx="813074" cy="320692"/>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16835" tIns="8423" rIns="16835" bIns="8423" anchor="ctr" anchorCtr="0">
            <a:noAutofit/>
          </a:bodyPr>
          <a:lstStyle/>
          <a:p>
            <a:pPr algn="ctr" defTabSz="913909" eaLnBrk="0" fontAlgn="base" hangingPunct="0">
              <a:spcBef>
                <a:spcPct val="0"/>
              </a:spcBef>
              <a:spcAft>
                <a:spcPct val="0"/>
              </a:spcAft>
              <a:buClr>
                <a:srgbClr val="CC9900"/>
              </a:buClr>
            </a:pPr>
            <a:r>
              <a:rPr lang="en-US" altLang="zh-CN" sz="900" b="1" smtClean="0">
                <a:solidFill>
                  <a:srgbClr val="FFFFFF"/>
                </a:solidFill>
                <a:latin typeface="Arial" panose="020B0604020202020204" pitchFamily="34" charset="0"/>
                <a:ea typeface="微软雅黑" pitchFamily="34" charset="-122"/>
              </a:rPr>
              <a:t>Shandong</a:t>
            </a:r>
            <a:r>
              <a:rPr lang="en-US" altLang="zh-CN" sz="900" b="1" smtClean="0">
                <a:solidFill>
                  <a:prstClr val="white"/>
                </a:solidFill>
                <a:latin typeface="Arial" panose="020B0604020202020204" pitchFamily="34" charset="0"/>
                <a:ea typeface="微软雅黑" pitchFamily="34" charset="-122"/>
              </a:rPr>
              <a:t> </a:t>
            </a:r>
            <a:r>
              <a:rPr lang="en-US" altLang="zh-CN" sz="900" b="1" smtClean="0">
                <a:solidFill>
                  <a:srgbClr val="FFFFFF"/>
                </a:solidFill>
                <a:latin typeface="Arial" panose="020B0604020202020204" pitchFamily="34" charset="0"/>
                <a:ea typeface="微软雅黑" pitchFamily="34" charset="-122"/>
              </a:rPr>
              <a:t>Futong</a:t>
            </a:r>
            <a:endParaRPr lang="en-US" altLang="zh-CN" sz="900" b="1" dirty="0">
              <a:solidFill>
                <a:srgbClr val="FFFFFF"/>
              </a:solidFill>
              <a:latin typeface="Arial"/>
              <a:ea typeface="微软雅黑" pitchFamily="34" charset="-122"/>
            </a:endParaRPr>
          </a:p>
        </p:txBody>
      </p:sp>
      <p:sp>
        <p:nvSpPr>
          <p:cNvPr id="108" name="下箭头 107"/>
          <p:cNvSpPr/>
          <p:nvPr/>
        </p:nvSpPr>
        <p:spPr>
          <a:xfrm rot="10800000">
            <a:off x="1870034" y="6847175"/>
            <a:ext cx="140598" cy="202241"/>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Arial" panose="020B0604020202020204" pitchFamily="34" charset="0"/>
            </a:endParaRPr>
          </a:p>
        </p:txBody>
      </p:sp>
      <p:pic>
        <p:nvPicPr>
          <p:cNvPr id="109" name="图片 108"/>
          <p:cNvPicPr>
            <a:picLocks noChangeAspect="1"/>
          </p:cNvPicPr>
          <p:nvPr/>
        </p:nvPicPr>
        <p:blipFill rotWithShape="1">
          <a:blip r:embed="rId14" cstate="print">
            <a:extLst>
              <a:ext uri="{BEBA8EAE-BF5A-486C-A8C5-ECC9F3942E4B}">
                <a14:imgProps xmlns:a14="http://schemas.microsoft.com/office/drawing/2010/main" xmlns="">
                  <a14:imgLayer r:embed="rId15">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a14="http://schemas.microsoft.com/office/drawing/2010/main" xmlns="" val="0"/>
              </a:ext>
            </a:extLst>
          </a:blip>
          <a:srcRect/>
          <a:stretch/>
        </p:blipFill>
        <p:spPr>
          <a:xfrm rot="13765517">
            <a:off x="2161886" y="7568813"/>
            <a:ext cx="201198" cy="227182"/>
          </a:xfrm>
          <a:prstGeom prst="rect">
            <a:avLst/>
          </a:prstGeom>
        </p:spPr>
      </p:pic>
      <p:pic>
        <p:nvPicPr>
          <p:cNvPr id="110" name="图片 109"/>
          <p:cNvPicPr>
            <a:picLocks noChangeAspect="1"/>
          </p:cNvPicPr>
          <p:nvPr/>
        </p:nvPicPr>
        <p:blipFill rotWithShape="1">
          <a:blip r:embed="rId14" cstate="print">
            <a:extLst>
              <a:ext uri="{BEBA8EAE-BF5A-486C-A8C5-ECC9F3942E4B}">
                <a14:imgProps xmlns:a14="http://schemas.microsoft.com/office/drawing/2010/main" xmlns="">
                  <a14:imgLayer r:embed="rId15">
                    <a14:imgEffect>
                      <a14:backgroundRemoval t="0" b="96491" l="1961" r="88235">
                        <a14:foregroundMark x1="43137" y1="50877" x2="43137" y2="50877"/>
                        <a14:foregroundMark x1="15686" y1="54386" x2="15686" y2="54386"/>
                      </a14:backgroundRemoval>
                    </a14:imgEffect>
                  </a14:imgLayer>
                </a14:imgProps>
              </a:ext>
              <a:ext uri="{28A0092B-C50C-407E-A947-70E740481C1C}">
                <a14:useLocalDpi xmlns:a14="http://schemas.microsoft.com/office/drawing/2010/main" xmlns="" val="0"/>
              </a:ext>
            </a:extLst>
          </a:blip>
          <a:srcRect/>
          <a:stretch/>
        </p:blipFill>
        <p:spPr>
          <a:xfrm rot="18765754">
            <a:off x="1241384" y="7570312"/>
            <a:ext cx="188719" cy="213091"/>
          </a:xfrm>
          <a:prstGeom prst="rect">
            <a:avLst/>
          </a:prstGeom>
        </p:spPr>
      </p:pic>
      <p:sp>
        <p:nvSpPr>
          <p:cNvPr id="119" name="205251812"/>
          <p:cNvSpPr/>
          <p:nvPr/>
        </p:nvSpPr>
        <p:spPr>
          <a:xfrm>
            <a:off x="469597" y="6634048"/>
            <a:ext cx="1296950"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800" dirty="0" smtClean="0">
                <a:solidFill>
                  <a:prstClr val="black"/>
                </a:solidFill>
                <a:latin typeface="Arial" panose="020B0604020202020204" pitchFamily="34" charset="0"/>
                <a:ea typeface="微软雅黑"/>
                <a:cs typeface="微软雅黑"/>
              </a:rPr>
              <a:t>Shelter environment monitoring</a:t>
            </a:r>
            <a:endParaRPr kumimoji="1" lang="zh-CN" altLang="en-US" sz="800" dirty="0">
              <a:solidFill>
                <a:prstClr val="black"/>
              </a:solidFill>
              <a:latin typeface="Arial" panose="020B0604020202020204" pitchFamily="34" charset="0"/>
              <a:ea typeface="微软雅黑"/>
              <a:cs typeface="微软雅黑"/>
            </a:endParaRPr>
          </a:p>
        </p:txBody>
      </p:sp>
      <p:sp>
        <p:nvSpPr>
          <p:cNvPr id="120" name="1950568665"/>
          <p:cNvSpPr/>
          <p:nvPr/>
        </p:nvSpPr>
        <p:spPr>
          <a:xfrm>
            <a:off x="2039892" y="6634048"/>
            <a:ext cx="1296950" cy="33855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kumimoji="1" lang="en-US" altLang="zh-CN" sz="800" dirty="0" smtClean="0">
                <a:solidFill>
                  <a:prstClr val="black"/>
                </a:solidFill>
                <a:latin typeface="Arial" panose="020B0604020202020204" pitchFamily="34" charset="0"/>
                <a:ea typeface="微软雅黑"/>
                <a:cs typeface="微软雅黑"/>
              </a:rPr>
              <a:t>Planting area video surveillance</a:t>
            </a:r>
            <a:endParaRPr kumimoji="1" lang="zh-CN" altLang="en-US" sz="800" dirty="0">
              <a:solidFill>
                <a:prstClr val="black"/>
              </a:solidFill>
              <a:latin typeface="Arial" panose="020B0604020202020204" pitchFamily="34" charset="0"/>
              <a:ea typeface="微软雅黑"/>
              <a:cs typeface="微软雅黑"/>
            </a:endParaRPr>
          </a:p>
        </p:txBody>
      </p:sp>
      <p:pic>
        <p:nvPicPr>
          <p:cNvPr id="121" name="Picture 19" descr="http://img0.imgtn.bdimg.com/it/u=3388091177,1943280041&amp;fm=21&amp;gp=0.jpg"/>
          <p:cNvPicPr>
            <a:picLocks noChangeAspect="1" noChangeArrowheads="1"/>
          </p:cNvPicPr>
          <p:nvPr/>
        </p:nvPicPr>
        <p:blipFill>
          <a:blip r:embed="rId26" cstate="print"/>
          <a:srcRect/>
          <a:stretch>
            <a:fillRect/>
          </a:stretch>
        </p:blipFill>
        <p:spPr bwMode="auto">
          <a:xfrm>
            <a:off x="540374" y="6245200"/>
            <a:ext cx="1155396" cy="441809"/>
          </a:xfrm>
          <a:prstGeom prst="rect">
            <a:avLst/>
          </a:prstGeom>
          <a:noFill/>
        </p:spPr>
      </p:pic>
      <p:pic>
        <p:nvPicPr>
          <p:cNvPr id="122" name="Picture 12"/>
          <p:cNvPicPr>
            <a:picLocks noChangeAspect="1" noChangeArrowheads="1"/>
          </p:cNvPicPr>
          <p:nvPr/>
        </p:nvPicPr>
        <p:blipFill>
          <a:blip r:embed="rId27" cstate="print"/>
          <a:srcRect/>
          <a:stretch>
            <a:fillRect/>
          </a:stretch>
        </p:blipFill>
        <p:spPr bwMode="auto">
          <a:xfrm>
            <a:off x="2119027" y="6255422"/>
            <a:ext cx="1138680" cy="421364"/>
          </a:xfrm>
          <a:prstGeom prst="rect">
            <a:avLst/>
          </a:prstGeom>
          <a:noFill/>
          <a:ln w="9525">
            <a:solidFill>
              <a:schemeClr val="accent1">
                <a:shade val="50000"/>
              </a:schemeClr>
            </a:solidFill>
            <a:miter lim="800000"/>
            <a:headEnd/>
            <a:tailEnd/>
          </a:ln>
        </p:spPr>
      </p:pic>
      <p:pic>
        <p:nvPicPr>
          <p:cNvPr id="123" name="Picture 2" descr="http://img0.imgtn.bdimg.com/it/u=585742868,2284841596&amp;fm=21&amp;gp=0.jpg"/>
          <p:cNvPicPr>
            <a:picLocks noChangeAspect="1" noChangeArrowheads="1"/>
          </p:cNvPicPr>
          <p:nvPr/>
        </p:nvPicPr>
        <p:blipFill>
          <a:blip r:embed="rId28" cstate="print"/>
          <a:srcRect/>
          <a:stretch>
            <a:fillRect/>
          </a:stretch>
        </p:blipFill>
        <p:spPr bwMode="auto">
          <a:xfrm>
            <a:off x="120008" y="7850225"/>
            <a:ext cx="736695" cy="359075"/>
          </a:xfrm>
          <a:prstGeom prst="rect">
            <a:avLst/>
          </a:prstGeom>
          <a:noFill/>
        </p:spPr>
      </p:pic>
      <p:sp>
        <p:nvSpPr>
          <p:cNvPr id="124" name="2141287243"/>
          <p:cNvSpPr txBox="1"/>
          <p:nvPr/>
        </p:nvSpPr>
        <p:spPr>
          <a:xfrm>
            <a:off x="78532" y="8179843"/>
            <a:ext cx="819646" cy="307777"/>
          </a:xfrm>
          <a:prstGeom prst="rect">
            <a:avLst/>
          </a:prstGeom>
          <a:noFill/>
        </p:spPr>
        <p:txBody>
          <a:bodyPr wrap="square" lIns="0" rIns="0" rtlCol="0">
            <a:spAutoFit/>
          </a:bodyPr>
          <a:lstStyle/>
          <a:p>
            <a:pPr algn="ctr"/>
            <a:r>
              <a:rPr kumimoji="1" lang="en-US" altLang="zh-CN" sz="700" dirty="0" smtClean="0">
                <a:solidFill>
                  <a:prstClr val="black"/>
                </a:solidFill>
                <a:latin typeface="Arial" panose="020B0604020202020204" pitchFamily="34" charset="0"/>
                <a:ea typeface="微软雅黑"/>
                <a:cs typeface="微软雅黑"/>
              </a:rPr>
              <a:t>Soil temperature and humidity sensor</a:t>
            </a:r>
            <a:endParaRPr kumimoji="1" lang="zh-CN" altLang="en-US" sz="700" dirty="0">
              <a:solidFill>
                <a:prstClr val="black"/>
              </a:solidFill>
              <a:latin typeface="Arial" panose="020B0604020202020204" pitchFamily="34" charset="0"/>
              <a:ea typeface="微软雅黑"/>
              <a:cs typeface="微软雅黑"/>
            </a:endParaRPr>
          </a:p>
        </p:txBody>
      </p:sp>
      <p:pic>
        <p:nvPicPr>
          <p:cNvPr id="125" name="Picture 4" descr="http://img5.imgtn.bdimg.com/it/u=3854396782,4045589105&amp;fm=21&amp;gp=0.jpg"/>
          <p:cNvPicPr>
            <a:picLocks noChangeAspect="1" noChangeArrowheads="1"/>
          </p:cNvPicPr>
          <p:nvPr/>
        </p:nvPicPr>
        <p:blipFill>
          <a:blip r:embed="rId29" cstate="print"/>
          <a:srcRect/>
          <a:stretch>
            <a:fillRect/>
          </a:stretch>
        </p:blipFill>
        <p:spPr bwMode="auto">
          <a:xfrm>
            <a:off x="1774198" y="7850698"/>
            <a:ext cx="734707" cy="363901"/>
          </a:xfrm>
          <a:prstGeom prst="rect">
            <a:avLst/>
          </a:prstGeom>
          <a:noFill/>
        </p:spPr>
      </p:pic>
      <p:sp>
        <p:nvSpPr>
          <p:cNvPr id="126" name="312492698"/>
          <p:cNvSpPr txBox="1"/>
          <p:nvPr/>
        </p:nvSpPr>
        <p:spPr>
          <a:xfrm>
            <a:off x="1714649" y="8184768"/>
            <a:ext cx="853805" cy="307777"/>
          </a:xfrm>
          <a:prstGeom prst="rect">
            <a:avLst/>
          </a:prstGeom>
          <a:noFill/>
        </p:spPr>
        <p:txBody>
          <a:bodyPr wrap="square" lIns="0" rIns="0" rtlCol="0">
            <a:spAutoFit/>
          </a:bodyPr>
          <a:lstStyle/>
          <a:p>
            <a:pPr algn="ctr"/>
            <a:r>
              <a:rPr kumimoji="1" lang="en-US" altLang="zh-CN" sz="700" dirty="0" smtClean="0">
                <a:solidFill>
                  <a:prstClr val="black"/>
                </a:solidFill>
                <a:latin typeface="Arial" panose="020B0604020202020204" pitchFamily="34" charset="0"/>
                <a:ea typeface="微软雅黑"/>
                <a:cs typeface="微软雅黑"/>
              </a:rPr>
              <a:t>Air temperature and humidity sensor</a:t>
            </a:r>
            <a:endParaRPr kumimoji="1" lang="zh-CN" altLang="en-US" sz="700" dirty="0">
              <a:solidFill>
                <a:prstClr val="black"/>
              </a:solidFill>
              <a:latin typeface="Arial" panose="020B0604020202020204" pitchFamily="34" charset="0"/>
              <a:ea typeface="微软雅黑"/>
              <a:cs typeface="微软雅黑"/>
            </a:endParaRPr>
          </a:p>
        </p:txBody>
      </p:sp>
      <p:pic>
        <p:nvPicPr>
          <p:cNvPr id="127" name="Picture 6" descr="http://img5.imgtn.bdimg.com/it/u=411465536,4133376079&amp;fm=21&amp;gp=0.jpg"/>
          <p:cNvPicPr>
            <a:picLocks noChangeAspect="1" noChangeArrowheads="1"/>
          </p:cNvPicPr>
          <p:nvPr/>
        </p:nvPicPr>
        <p:blipFill>
          <a:blip r:embed="rId30" cstate="print"/>
          <a:srcRect/>
          <a:stretch>
            <a:fillRect/>
          </a:stretch>
        </p:blipFill>
        <p:spPr bwMode="auto">
          <a:xfrm>
            <a:off x="942017" y="7850225"/>
            <a:ext cx="734707" cy="359075"/>
          </a:xfrm>
          <a:prstGeom prst="rect">
            <a:avLst/>
          </a:prstGeom>
          <a:noFill/>
        </p:spPr>
      </p:pic>
      <p:sp>
        <p:nvSpPr>
          <p:cNvPr id="128" name="169727893"/>
          <p:cNvSpPr txBox="1"/>
          <p:nvPr/>
        </p:nvSpPr>
        <p:spPr>
          <a:xfrm>
            <a:off x="882971" y="8183900"/>
            <a:ext cx="793753" cy="307777"/>
          </a:xfrm>
          <a:prstGeom prst="rect">
            <a:avLst/>
          </a:prstGeom>
          <a:noFill/>
        </p:spPr>
        <p:txBody>
          <a:bodyPr wrap="square" lIns="0" rIns="0" rtlCol="0">
            <a:spAutoFit/>
          </a:bodyPr>
          <a:lstStyle/>
          <a:p>
            <a:pPr algn="ctr"/>
            <a:r>
              <a:rPr kumimoji="1" lang="en-US" altLang="zh-CN" sz="700" dirty="0" smtClean="0">
                <a:solidFill>
                  <a:prstClr val="black"/>
                </a:solidFill>
                <a:latin typeface="Arial" panose="020B0604020202020204" pitchFamily="34" charset="0"/>
                <a:ea typeface="微软雅黑"/>
                <a:cs typeface="微软雅黑"/>
              </a:rPr>
              <a:t>Acoustic-optic sensor</a:t>
            </a:r>
            <a:endParaRPr kumimoji="1" lang="zh-CN" altLang="en-US" sz="700" dirty="0">
              <a:solidFill>
                <a:prstClr val="black"/>
              </a:solidFill>
              <a:latin typeface="Arial" panose="020B0604020202020204" pitchFamily="34" charset="0"/>
              <a:ea typeface="微软雅黑"/>
              <a:cs typeface="微软雅黑"/>
            </a:endParaRPr>
          </a:p>
        </p:txBody>
      </p:sp>
      <p:pic>
        <p:nvPicPr>
          <p:cNvPr id="129" name="Picture 5"/>
          <p:cNvPicPr>
            <a:picLocks noChangeArrowheads="1"/>
          </p:cNvPicPr>
          <p:nvPr/>
        </p:nvPicPr>
        <p:blipFill>
          <a:blip r:embed="rId31" cstate="print"/>
          <a:srcRect/>
          <a:stretch>
            <a:fillRect/>
          </a:stretch>
        </p:blipFill>
        <p:spPr bwMode="auto">
          <a:xfrm>
            <a:off x="2592462" y="7851749"/>
            <a:ext cx="742283" cy="357551"/>
          </a:xfrm>
          <a:prstGeom prst="rect">
            <a:avLst/>
          </a:prstGeom>
          <a:noFill/>
        </p:spPr>
      </p:pic>
      <p:sp>
        <p:nvSpPr>
          <p:cNvPr id="130" name="1217863052"/>
          <p:cNvSpPr txBox="1"/>
          <p:nvPr/>
        </p:nvSpPr>
        <p:spPr>
          <a:xfrm>
            <a:off x="2601325" y="8186193"/>
            <a:ext cx="724557" cy="200055"/>
          </a:xfrm>
          <a:prstGeom prst="rect">
            <a:avLst/>
          </a:prstGeom>
          <a:noFill/>
        </p:spPr>
        <p:txBody>
          <a:bodyPr wrap="none" lIns="0" rIns="0" rtlCol="0">
            <a:spAutoFit/>
          </a:bodyPr>
          <a:lstStyle/>
          <a:p>
            <a:r>
              <a:rPr kumimoji="1" lang="en-US" altLang="zh-CN" sz="700" dirty="0" smtClean="0">
                <a:solidFill>
                  <a:prstClr val="black"/>
                </a:solidFill>
                <a:latin typeface="Arial" panose="020B0604020202020204" pitchFamily="34" charset="0"/>
                <a:ea typeface="微软雅黑"/>
                <a:cs typeface="微软雅黑"/>
              </a:rPr>
              <a:t>Video surveillance</a:t>
            </a:r>
            <a:endParaRPr kumimoji="1" lang="zh-CN" altLang="en-US" sz="700" dirty="0">
              <a:solidFill>
                <a:prstClr val="black"/>
              </a:solidFill>
              <a:latin typeface="Arial" panose="020B0604020202020204" pitchFamily="34" charset="0"/>
              <a:ea typeface="微软雅黑"/>
              <a:cs typeface="微软雅黑"/>
            </a:endParaRPr>
          </a:p>
        </p:txBody>
      </p:sp>
      <p:sp>
        <p:nvSpPr>
          <p:cNvPr id="111" name="850507679"/>
          <p:cNvSpPr/>
          <p:nvPr/>
        </p:nvSpPr>
        <p:spPr>
          <a:xfrm>
            <a:off x="5487575" y="6214467"/>
            <a:ext cx="756000" cy="144000"/>
          </a:xfrm>
          <a:prstGeom prst="rect">
            <a:avLst/>
          </a:prstGeom>
          <a:solidFill>
            <a:srgbClr val="66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8793"/>
            <a:r>
              <a:rPr lang="en-US" altLang="zh-CN" sz="800" dirty="0" smtClean="0">
                <a:solidFill>
                  <a:schemeClr val="tx1"/>
                </a:solidFill>
                <a:latin typeface="Arial" panose="020B0604020202020204" pitchFamily="34" charset="0"/>
                <a:ea typeface="微软雅黑" pitchFamily="34" charset="-122"/>
              </a:rPr>
              <a:t>Self-developed</a:t>
            </a:r>
            <a:endParaRPr lang="en-US" altLang="zh-CN" sz="800" dirty="0">
              <a:solidFill>
                <a:schemeClr val="tx1"/>
              </a:solidFill>
              <a:latin typeface="Arial" panose="020B0604020202020204" pitchFamily="34" charset="0"/>
              <a:ea typeface="微软雅黑" pitchFamily="34" charset="-122"/>
            </a:endParaRPr>
          </a:p>
        </p:txBody>
      </p:sp>
      <p:sp>
        <p:nvSpPr>
          <p:cNvPr id="112" name="3379419"/>
          <p:cNvSpPr/>
          <p:nvPr/>
        </p:nvSpPr>
        <p:spPr>
          <a:xfrm>
            <a:off x="6239883" y="6214467"/>
            <a:ext cx="611759" cy="144000"/>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0" tIns="0" rIns="0" bIns="0" anchor="ctr" anchorCtr="0">
            <a:noAutofit/>
          </a:bodyPr>
          <a:lstStyle/>
          <a:p>
            <a:pPr algn="ctr" defTabSz="913909" eaLnBrk="0" fontAlgn="base" hangingPunct="0">
              <a:spcBef>
                <a:spcPct val="0"/>
              </a:spcBef>
              <a:spcAft>
                <a:spcPct val="0"/>
              </a:spcAft>
              <a:buClr>
                <a:srgbClr val="CC9900"/>
              </a:buClr>
            </a:pPr>
            <a:r>
              <a:rPr lang="en-US" altLang="zh-CN" sz="800" b="1" dirty="0" smtClean="0">
                <a:solidFill>
                  <a:prstClr val="white"/>
                </a:solidFill>
                <a:latin typeface="Arial" panose="020B0604020202020204" pitchFamily="34" charset="0"/>
                <a:ea typeface="微软雅黑" pitchFamily="34" charset="-122"/>
              </a:rPr>
              <a:t>Cooperation</a:t>
            </a:r>
            <a:endParaRPr lang="en-US" altLang="zh-CN" sz="800" b="1" dirty="0">
              <a:solidFill>
                <a:prstClr val="white"/>
              </a:solidFill>
              <a:latin typeface="Arial" panose="020B0604020202020204" pitchFamily="34" charset="0"/>
              <a:ea typeface="微软雅黑" pitchFamily="34" charset="-122"/>
            </a:endParaRPr>
          </a:p>
        </p:txBody>
      </p:sp>
      <p:sp>
        <p:nvSpPr>
          <p:cNvPr id="113" name="850507679"/>
          <p:cNvSpPr/>
          <p:nvPr/>
        </p:nvSpPr>
        <p:spPr>
          <a:xfrm>
            <a:off x="5479132" y="904925"/>
            <a:ext cx="756000" cy="144000"/>
          </a:xfrm>
          <a:prstGeom prst="rect">
            <a:avLst/>
          </a:prstGeom>
          <a:solidFill>
            <a:srgbClr val="66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8793"/>
            <a:r>
              <a:rPr lang="en-US" altLang="zh-CN" sz="800" dirty="0" smtClean="0">
                <a:solidFill>
                  <a:schemeClr val="tx1"/>
                </a:solidFill>
                <a:latin typeface="Arial" panose="020B0604020202020204" pitchFamily="34" charset="0"/>
                <a:ea typeface="微软雅黑" pitchFamily="34" charset="-122"/>
              </a:rPr>
              <a:t>Self-developed</a:t>
            </a:r>
            <a:endParaRPr lang="en-US" altLang="zh-CN" sz="800" dirty="0">
              <a:solidFill>
                <a:schemeClr val="tx1"/>
              </a:solidFill>
              <a:latin typeface="Arial" panose="020B0604020202020204" pitchFamily="34" charset="0"/>
              <a:ea typeface="微软雅黑" pitchFamily="34" charset="-122"/>
            </a:endParaRPr>
          </a:p>
        </p:txBody>
      </p:sp>
      <p:sp>
        <p:nvSpPr>
          <p:cNvPr id="114" name="3379419"/>
          <p:cNvSpPr/>
          <p:nvPr/>
        </p:nvSpPr>
        <p:spPr>
          <a:xfrm>
            <a:off x="6240965" y="904925"/>
            <a:ext cx="611759" cy="144000"/>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0" tIns="0" rIns="0" bIns="0" anchor="ctr" anchorCtr="0">
            <a:noAutofit/>
          </a:bodyPr>
          <a:lstStyle/>
          <a:p>
            <a:pPr algn="ctr" defTabSz="913909" eaLnBrk="0" fontAlgn="base" hangingPunct="0">
              <a:spcBef>
                <a:spcPct val="0"/>
              </a:spcBef>
              <a:spcAft>
                <a:spcPct val="0"/>
              </a:spcAft>
              <a:buClr>
                <a:srgbClr val="CC9900"/>
              </a:buClr>
            </a:pPr>
            <a:r>
              <a:rPr lang="en-US" altLang="zh-CN" sz="800" b="1" dirty="0" smtClean="0">
                <a:solidFill>
                  <a:prstClr val="white"/>
                </a:solidFill>
                <a:latin typeface="Arial" panose="020B0604020202020204" pitchFamily="34" charset="0"/>
                <a:ea typeface="微软雅黑" pitchFamily="34" charset="-122"/>
              </a:rPr>
              <a:t>Cooperation</a:t>
            </a:r>
            <a:endParaRPr lang="en-US" altLang="zh-CN" sz="800" b="1" dirty="0">
              <a:solidFill>
                <a:prstClr val="white"/>
              </a:solidFill>
              <a:latin typeface="Arial" panose="020B0604020202020204" pitchFamily="34" charset="0"/>
              <a:ea typeface="微软雅黑" pitchFamily="34" charset="-122"/>
            </a:endParaRPr>
          </a:p>
        </p:txBody>
      </p:sp>
      <p:sp>
        <p:nvSpPr>
          <p:cNvPr id="115" name="850507679"/>
          <p:cNvSpPr/>
          <p:nvPr/>
        </p:nvSpPr>
        <p:spPr>
          <a:xfrm>
            <a:off x="8184" y="3452619"/>
            <a:ext cx="756000" cy="144000"/>
          </a:xfrm>
          <a:prstGeom prst="rect">
            <a:avLst/>
          </a:prstGeom>
          <a:solidFill>
            <a:srgbClr val="66FF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8793"/>
            <a:r>
              <a:rPr lang="en-US" altLang="zh-CN" sz="800" dirty="0" smtClean="0">
                <a:solidFill>
                  <a:schemeClr val="tx1"/>
                </a:solidFill>
                <a:latin typeface="Arial" panose="020B0604020202020204" pitchFamily="34" charset="0"/>
                <a:ea typeface="微软雅黑" pitchFamily="34" charset="-122"/>
              </a:rPr>
              <a:t>Self-developed</a:t>
            </a:r>
            <a:endParaRPr lang="en-US" altLang="zh-CN" sz="800" dirty="0">
              <a:solidFill>
                <a:schemeClr val="tx1"/>
              </a:solidFill>
              <a:latin typeface="Arial" panose="020B0604020202020204" pitchFamily="34" charset="0"/>
              <a:ea typeface="微软雅黑" pitchFamily="34" charset="-122"/>
            </a:endParaRPr>
          </a:p>
        </p:txBody>
      </p:sp>
      <p:sp>
        <p:nvSpPr>
          <p:cNvPr id="116" name="3379419"/>
          <p:cNvSpPr/>
          <p:nvPr/>
        </p:nvSpPr>
        <p:spPr>
          <a:xfrm>
            <a:off x="770017" y="3452619"/>
            <a:ext cx="611759" cy="144000"/>
          </a:xfrm>
          <a:prstGeom prst="rect">
            <a:avLst/>
          </a:prstGeom>
          <a:gradFill rotWithShape="1">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txBody>
          <a:bodyPr wrap="square" lIns="0" tIns="0" rIns="0" bIns="0" anchor="ctr" anchorCtr="0">
            <a:noAutofit/>
          </a:bodyPr>
          <a:lstStyle/>
          <a:p>
            <a:pPr algn="ctr" defTabSz="913909" eaLnBrk="0" fontAlgn="base" hangingPunct="0">
              <a:spcBef>
                <a:spcPct val="0"/>
              </a:spcBef>
              <a:spcAft>
                <a:spcPct val="0"/>
              </a:spcAft>
              <a:buClr>
                <a:srgbClr val="CC9900"/>
              </a:buClr>
            </a:pPr>
            <a:r>
              <a:rPr lang="en-US" altLang="zh-CN" sz="800" b="1" dirty="0" smtClean="0">
                <a:solidFill>
                  <a:prstClr val="white"/>
                </a:solidFill>
                <a:latin typeface="Arial" panose="020B0604020202020204" pitchFamily="34" charset="0"/>
                <a:ea typeface="微软雅黑" pitchFamily="34" charset="-122"/>
              </a:rPr>
              <a:t>Cooperation</a:t>
            </a:r>
            <a:endParaRPr lang="en-US" altLang="zh-CN" sz="800" b="1" dirty="0">
              <a:solidFill>
                <a:prstClr val="white"/>
              </a:solidFill>
              <a:latin typeface="Arial" panose="020B0604020202020204" pitchFamily="34" charset="0"/>
              <a:ea typeface="微软雅黑" pitchFamily="34" charset="-122"/>
            </a:endParaRPr>
          </a:p>
        </p:txBody>
      </p:sp>
    </p:spTree>
    <p:extLst>
      <p:ext uri="{BB962C8B-B14F-4D97-AF65-F5344CB8AC3E}">
        <p14:creationId xmlns:p14="http://schemas.microsoft.com/office/powerpoint/2010/main" xmlns="" val="4867353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Dytpiu55UGjy6zwN4fl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GNnvnwX.kSCaUnVxUYc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GNnvnwX.kSCaUnVxUYc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GNnvnwX.kSCaUnVxUYc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GNnvnwX.kSCaUnVxUYc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GNnvnwX.kSCaUnVxUYc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GNnvnwX.kSCaUnVxUYc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GNnvnwX.kSCaUnVxUYcsQ"/>
</p:tagLst>
</file>

<file path=ppt/theme/theme1.xml><?xml version="1.0" encoding="utf-8"?>
<a:theme xmlns:a="http://schemas.openxmlformats.org/drawingml/2006/main" name="封面0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目录Contont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ank you">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CW PP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137</TotalTime>
  <Words>1580</Words>
  <Application>Microsoft Office PowerPoint</Application>
  <PresentationFormat>全屏显示(4:3)</PresentationFormat>
  <Paragraphs>250</Paragraphs>
  <Slides>4</Slides>
  <Notes>4</Notes>
  <HiddenSlides>0</HiddenSlides>
  <MMClips>0</MMClips>
  <ScaleCrop>false</ScaleCrop>
  <HeadingPairs>
    <vt:vector size="4" baseType="variant">
      <vt:variant>
        <vt:lpstr>主题</vt:lpstr>
      </vt:variant>
      <vt:variant>
        <vt:i4>4</vt:i4>
      </vt:variant>
      <vt:variant>
        <vt:lpstr>幻灯片标题</vt:lpstr>
      </vt:variant>
      <vt:variant>
        <vt:i4>4</vt:i4>
      </vt:variant>
    </vt:vector>
  </HeadingPairs>
  <TitlesOfParts>
    <vt:vector size="8" baseType="lpstr">
      <vt:lpstr>封面01</vt:lpstr>
      <vt:lpstr>目录Contonts</vt:lpstr>
      <vt:lpstr>内容Copytext </vt:lpstr>
      <vt:lpstr>Thank you</vt:lpstr>
      <vt:lpstr>幻灯片 1</vt:lpstr>
      <vt:lpstr>幻灯片 2</vt:lpstr>
      <vt:lpstr>幻灯片 3</vt:lpstr>
      <vt:lpstr>幻灯片 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Zhouchuan (Luc)</dc:creator>
  <cp:lastModifiedBy>Test</cp:lastModifiedBy>
  <cp:revision>723</cp:revision>
  <dcterms:created xsi:type="dcterms:W3CDTF">2014-09-24T01:01:53Z</dcterms:created>
  <dcterms:modified xsi:type="dcterms:W3CDTF">2017-05-11T02:4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_ms_pID_72543">
    <vt:lpwstr>(3)UNMnuLH6hStTiLh7XrKKvcrycp3cWeHhtNhMlsW+ji5OVajrJTz9nST81L82BRQxo+Z4DgSM
f5VFr0YmxAz/UZAyHbFjj3k9uV2Hd1Aj0+Iz5c6cOuDt+2eymVxR6hnWd+zzcfSLhvbSULK3
/3T2ArhABqJdlbRxdRcuHi41liYrT8HFlB9xaKyfJ/nT4vPQzkhlu2QUi/7r8/sSG4I95R1P
Kfj2vn9o+Ef2amxry3</vt:lpwstr>
  </property>
  <property fmtid="{D5CDD505-2E9C-101B-9397-08002B2CF9AE}" pid="3" name="_new_ms_pID_725431">
    <vt:lpwstr>82inVzLlQsCQ1tlrvlgT8yAzHmpAtjbw8A0oyF8HEZRPCJmACgHSn1
B38YP2ABDKimjZ1PKHpwTaXk+Ggf6Tv8u8Tq7JZ3wtRD50qURJeUptikejvS+u8M19lxrFxm
a04vnvs28A9ZFTCtb8EU1oy3XjFRRQSl4+JTU9/kgrtxL8EYalx1/ssyNzyy8pkJlDzypw1a
OQOz4Birlh1vG/31WQ2juMaPKrOzUiK01FL3</vt:lpwstr>
  </property>
  <property fmtid="{D5CDD505-2E9C-101B-9397-08002B2CF9AE}" pid="4" name="_new_ms_pID_725432">
    <vt:lpwstr>+raeHNDv4Ya+F6KQxl1LJr9324LcchUNVlB5
ORUdUJQA6RQ/B/trU8xpRDekFPCZ1Bp5h/Tfg3RgPp/dqZbkRkfBV0bT8nwu/atrdveLKZx/
aY8xqd7QE2CoNGRxFHOMtMSwMJe6b2QBj30owi3+mf4NnIm86HZwV9GNoOrY0JQboW6tpkWT
mPphDwaSudqloC8KOXCL5DcQRSk+zoY2AcM=</vt:lpwstr>
  </property>
  <property fmtid="{D5CDD505-2E9C-101B-9397-08002B2CF9AE}" pid="5" name="_2015_ms_pID_725343">
    <vt:lpwstr>(3)Q5h7kVZTLX8GW9DKiXnmFN+45kgVTcPM2iQ7FtQTV8tcVZrUlXnwj5xzkDKNY4cyFQy6DIUz
EMl6WXO3j+M1ljSnB/PzETbkX5VnRgJaK9yOjGhCexsiquX2RZz+TP/WfrLIYFzwZXmchACU
Chfe4KclOJeinzQl5IWvDL07i0yw6eK1q/w/utMeUryx6ZFvtLHfafR3ZimqtWP0TlPFdl+U
GB6hQHCfHstz12Qs/r</vt:lpwstr>
  </property>
  <property fmtid="{D5CDD505-2E9C-101B-9397-08002B2CF9AE}" pid="6" name="_2015_ms_pID_7253431">
    <vt:lpwstr>V/PvaOvK64dJkxLDqjE56tRDfe6mS07M63LnuN1hcLgetSbcuifztq
mMK1Oot/Y5wBWEs+aVYaAunbTISEr5ZO+51bkJcoEfVbdtNEeKkk3fCptj0jxTfcqcSDRAgT
e2+bZrQu316vFdRB5Lkr2xXH9FVbDNui7D7TdkVkQBd2y3m0/uLxsKltXirr4KBMvFb0kiD2
/9mNXMTLmrgapsYmB+HzPuvkPleP5+aeBXIy</vt:lpwstr>
  </property>
  <property fmtid="{D5CDD505-2E9C-101B-9397-08002B2CF9AE}" pid="7" name="_2015_ms_pID_7253432">
    <vt:lpwstr>i+hFFJsmveNop3VJdf3QZu2vQowW1QPFujI9
dn2sv3Yc</vt:lpwstr>
  </property>
  <property fmtid="{D5CDD505-2E9C-101B-9397-08002B2CF9AE}" pid="8" name="_readonly">
    <vt:lpwstr/>
  </property>
  <property fmtid="{D5CDD505-2E9C-101B-9397-08002B2CF9AE}" pid="9" name="_change">
    <vt:lpwstr/>
  </property>
  <property fmtid="{D5CDD505-2E9C-101B-9397-08002B2CF9AE}" pid="10" name="_full-control">
    <vt:lpwstr/>
  </property>
  <property fmtid="{D5CDD505-2E9C-101B-9397-08002B2CF9AE}" pid="11" name="sflag">
    <vt:lpwstr>1494470762</vt:lpwstr>
  </property>
</Properties>
</file>